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7"/>
    <p:sldMasterId id="2147483704" r:id="rId8"/>
    <p:sldMasterId id="2147483705" r:id="rId9"/>
  </p:sldMasterIdLst>
  <p:notesMasterIdLst>
    <p:notesMasterId r:id="rId13"/>
  </p:notesMasterIdLst>
  <p:handoutMasterIdLst>
    <p:handoutMasterId r:id="rId14"/>
  </p:handoutMasterIdLst>
  <p:sldIdLst>
    <p:sldId id="323" r:id="rId10"/>
    <p:sldId id="324" r:id="rId11"/>
    <p:sldId id="325" r:id="rId12"/>
  </p:sldIdLst>
  <p:sldSz cx="9144000" cy="6858000" type="screen4x3"/>
  <p:notesSz cx="7099300" cy="10234613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6" pos="1587" userDrawn="1">
          <p15:clr>
            <a:srgbClr val="A4A3A4"/>
          </p15:clr>
        </p15:guide>
        <p15:guide id="7" pos="5412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3" frameSlides="1"/>
  <p:clrMru>
    <a:srgbClr val="FFFFFF"/>
    <a:srgbClr val="00519E"/>
    <a:srgbClr val="009EE0"/>
    <a:srgbClr val="98D3F1"/>
    <a:srgbClr val="054487"/>
    <a:srgbClr val="1A9EE0"/>
    <a:srgbClr val="4FBCED"/>
    <a:srgbClr val="9AD7F3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95" autoAdjust="0"/>
    <p:restoredTop sz="94707" autoAdjust="0"/>
  </p:normalViewPr>
  <p:slideViewPr>
    <p:cSldViewPr snapToGrid="0" showGuides="1">
      <p:cViewPr>
        <p:scale>
          <a:sx n="160" d="100"/>
          <a:sy n="160" d="100"/>
        </p:scale>
        <p:origin x="-546" y="-78"/>
      </p:cViewPr>
      <p:guideLst>
        <p:guide orient="horz" pos="2243"/>
        <p:guide orient="horz" pos="2833"/>
        <p:guide orient="horz" pos="3408"/>
        <p:guide pos="1587"/>
        <p:guide pos="5412"/>
        <p:guide pos="4295"/>
      </p:guideLst>
    </p:cSldViewPr>
  </p:slideViewPr>
  <p:outlineViewPr>
    <p:cViewPr>
      <p:scale>
        <a:sx n="33" d="100"/>
        <a:sy n="33" d="100"/>
      </p:scale>
      <p:origin x="0" y="-13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9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9045" tIns="49523" rIns="99045" bIns="49523" rtlCol="0"/>
          <a:lstStyle>
            <a:lvl1pPr algn="l">
              <a:defRPr sz="14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9045" tIns="49523" rIns="99045" bIns="49523" rtlCol="0"/>
          <a:lstStyle>
            <a:lvl1pPr algn="r">
              <a:defRPr sz="1400"/>
            </a:lvl1pPr>
          </a:lstStyle>
          <a:p>
            <a:fld id="{7D83B9BD-005A-4A6B-BA9D-C323A596C320}" type="datetimeFigureOut">
              <a:rPr lang="fr-FR" smtClean="0"/>
              <a:t>05/07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721108"/>
            <a:ext cx="3076363" cy="513507"/>
          </a:xfrm>
          <a:prstGeom prst="rect">
            <a:avLst/>
          </a:prstGeom>
        </p:spPr>
        <p:txBody>
          <a:bodyPr vert="horz" lIns="99045" tIns="49523" rIns="99045" bIns="49523" rtlCol="0" anchor="b"/>
          <a:lstStyle>
            <a:lvl1pPr algn="l">
              <a:defRPr sz="14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295" y="9721108"/>
            <a:ext cx="3076363" cy="513507"/>
          </a:xfrm>
          <a:prstGeom prst="rect">
            <a:avLst/>
          </a:prstGeom>
        </p:spPr>
        <p:txBody>
          <a:bodyPr vert="horz" lIns="99045" tIns="49523" rIns="99045" bIns="49523" rtlCol="0" anchor="b"/>
          <a:lstStyle>
            <a:lvl1pPr algn="r">
              <a:defRPr sz="1400"/>
            </a:lvl1pPr>
          </a:lstStyle>
          <a:p>
            <a:fld id="{F1EEF3CC-2786-413A-A879-6C19F0FCEB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53660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6363" cy="511730"/>
          </a:xfrm>
          <a:prstGeom prst="rect">
            <a:avLst/>
          </a:prstGeom>
        </p:spPr>
        <p:txBody>
          <a:bodyPr vert="horz" lIns="99045" tIns="49523" rIns="99045" bIns="49523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5" y="2"/>
            <a:ext cx="3076363" cy="511730"/>
          </a:xfrm>
          <a:prstGeom prst="rect">
            <a:avLst/>
          </a:prstGeom>
        </p:spPr>
        <p:txBody>
          <a:bodyPr vert="horz" lIns="99045" tIns="49523" rIns="99045" bIns="49523" rtlCol="0"/>
          <a:lstStyle>
            <a:lvl1pPr algn="r">
              <a:defRPr sz="1400"/>
            </a:lvl1pPr>
          </a:lstStyle>
          <a:p>
            <a:fld id="{7F870883-5EBE-40F0-8449-250A1C00967B}" type="datetimeFigureOut">
              <a:rPr lang="en-US" smtClean="0"/>
              <a:t>7/5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5" tIns="49523" rIns="99045" bIns="49523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1" y="4861441"/>
            <a:ext cx="5679440" cy="4605575"/>
          </a:xfrm>
          <a:prstGeom prst="rect">
            <a:avLst/>
          </a:prstGeom>
        </p:spPr>
        <p:txBody>
          <a:bodyPr vert="horz" lIns="99045" tIns="49523" rIns="99045" bIns="49523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0"/>
          </a:xfrm>
          <a:prstGeom prst="rect">
            <a:avLst/>
          </a:prstGeom>
        </p:spPr>
        <p:txBody>
          <a:bodyPr vert="horz" lIns="99045" tIns="49523" rIns="99045" bIns="49523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0"/>
          </a:xfrm>
          <a:prstGeom prst="rect">
            <a:avLst/>
          </a:prstGeom>
        </p:spPr>
        <p:txBody>
          <a:bodyPr vert="horz" lIns="99045" tIns="49523" rIns="99045" bIns="49523" rtlCol="0" anchor="b"/>
          <a:lstStyle>
            <a:lvl1pPr algn="r">
              <a:defRPr sz="1400"/>
            </a:lvl1pPr>
          </a:lstStyle>
          <a:p>
            <a:fld id="{BB33C5DB-8127-4F16-8A9F-2A117FAF3A8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14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34504" y="3904095"/>
            <a:ext cx="4230000" cy="1569000"/>
          </a:xfrm>
          <a:prstGeom prst="rect">
            <a:avLst/>
          </a:prstGeom>
          <a:solidFill>
            <a:srgbClr val="F6F6F6">
              <a:alpha val="90000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/>
          <p:cNvSpPr txBox="1"/>
          <p:nvPr userDrawn="1"/>
        </p:nvSpPr>
        <p:spPr>
          <a:xfrm>
            <a:off x="683568" y="4167224"/>
            <a:ext cx="19050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800" b="1" dirty="0" smtClean="0">
                <a:solidFill>
                  <a:schemeClr val="tx2"/>
                </a:solidFill>
              </a:rPr>
              <a:t>DELIVERED</a:t>
            </a:r>
            <a:r>
              <a:rPr lang="fr-FR" sz="1800" b="1" baseline="0" dirty="0" smtClean="0">
                <a:solidFill>
                  <a:schemeClr val="tx2"/>
                </a:solidFill>
              </a:rPr>
              <a:t> BY</a:t>
            </a:r>
            <a:endParaRPr lang="fr-FR" sz="1800" b="1" dirty="0" smtClean="0">
              <a:solidFill>
                <a:schemeClr val="tx2"/>
              </a:solidFill>
            </a:endParaRPr>
          </a:p>
        </p:txBody>
      </p:sp>
      <p:grpSp>
        <p:nvGrpSpPr>
          <p:cNvPr id="2" name="Group 6"/>
          <p:cNvGrpSpPr>
            <a:grpSpLocks noChangeAspect="1"/>
          </p:cNvGrpSpPr>
          <p:nvPr userDrawn="1"/>
        </p:nvGrpSpPr>
        <p:grpSpPr bwMode="auto">
          <a:xfrm>
            <a:off x="666907" y="4474455"/>
            <a:ext cx="2983979" cy="682890"/>
            <a:chOff x="1457" y="1832"/>
            <a:chExt cx="2849" cy="652"/>
          </a:xfrm>
        </p:grpSpPr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Imag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382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19" name="Groupe 1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0" name="Connecteur droit 1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e 2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9" name="Connecteur droit 2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2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4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5" name="ZoneTexte 3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400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0" name="Groupe 1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e 2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9" name="Connecteur droit 2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4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ZoneTexte 30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565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0" name="Groupe 1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e 2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9" name="Connecteur droit 2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4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ZoneTexte 30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825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3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0" name="Groupe 1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e 2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9" name="Connecteur droit 2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4" name="Espace réservé du texte 5"/>
          <p:cNvSpPr>
            <a:spLocks noGrp="1"/>
          </p:cNvSpPr>
          <p:nvPr>
            <p:ph type="body" sz="quarter" idx="37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ZoneTexte 30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180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Titre court - Text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7464799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e 12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4" name="Connecteur droit 13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e 1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18" name="Connecteur droit 17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ZoneTexte 21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62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Titre moyen - Text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7464799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e 10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4" name="Connecteur droit 13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e 1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18" name="Connecteur droit 17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ZoneTexte 21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59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 - Titre court - 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251550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688356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6" name="Connecteur droit 18"/>
          <p:cNvCxnSpPr/>
          <p:nvPr userDrawn="1"/>
        </p:nvCxnSpPr>
        <p:spPr>
          <a:xfrm>
            <a:off x="3576760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8"/>
          <p:cNvCxnSpPr/>
          <p:nvPr userDrawn="1"/>
        </p:nvCxnSpPr>
        <p:spPr>
          <a:xfrm>
            <a:off x="6139952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e 18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0" name="Connecteur droit 19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5490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3611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 - Titre moyen - 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251550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688357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3" name="Connecteur droit 18"/>
          <p:cNvCxnSpPr/>
          <p:nvPr userDrawn="1"/>
        </p:nvCxnSpPr>
        <p:spPr>
          <a:xfrm>
            <a:off x="3576760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8"/>
          <p:cNvCxnSpPr/>
          <p:nvPr userDrawn="1"/>
        </p:nvCxnSpPr>
        <p:spPr>
          <a:xfrm>
            <a:off x="6139952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7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e 18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0" name="Connecteur droit 19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757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- Titre court - Texte 3 colonnes fo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618009" y="2627538"/>
            <a:ext cx="7907982" cy="3062884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878772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005158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441964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7" name="Connecteur droit 18"/>
          <p:cNvCxnSpPr/>
          <p:nvPr userDrawn="1"/>
        </p:nvCxnSpPr>
        <p:spPr>
          <a:xfrm>
            <a:off x="3330368" y="2913063"/>
            <a:ext cx="0" cy="25908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 userDrawn="1"/>
        </p:nvCxnSpPr>
        <p:spPr>
          <a:xfrm>
            <a:off x="5893560" y="2913063"/>
            <a:ext cx="0" cy="25908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e 19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1" name="Connecteur droit 20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ZoneTexte 2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5" name="Connecteur droit 2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Image 2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9" name="Groupe 2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0" name="Connecteur droit 2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5351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1835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346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 - Titre court - Graphique -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827584" y="2369700"/>
            <a:ext cx="7472368" cy="285455"/>
          </a:xfrm>
        </p:spPr>
        <p:txBody>
          <a:bodyPr>
            <a:noAutofit/>
          </a:bodyPr>
          <a:lstStyle>
            <a:lvl1pPr>
              <a:defRPr sz="1400" cap="all"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4"/>
          </p:nvPr>
        </p:nvSpPr>
        <p:spPr>
          <a:xfrm>
            <a:off x="827584" y="2674220"/>
            <a:ext cx="7472368" cy="3501970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938891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+ titre +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-34504" y="3904095"/>
            <a:ext cx="4230000" cy="1569000"/>
          </a:xfrm>
          <a:prstGeom prst="rect">
            <a:avLst/>
          </a:prstGeom>
          <a:solidFill>
            <a:srgbClr val="F6F6F6">
              <a:alpha val="87000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3851275" y="3175"/>
            <a:ext cx="5295900" cy="4589463"/>
          </a:xfrm>
          <a:custGeom>
            <a:avLst/>
            <a:gdLst>
              <a:gd name="T0" fmla="*/ 1665 w 1665"/>
              <a:gd name="T1" fmla="*/ 0 h 1442"/>
              <a:gd name="T2" fmla="*/ 0 w 1665"/>
              <a:gd name="T3" fmla="*/ 0 h 1442"/>
              <a:gd name="T4" fmla="*/ 790 w 1665"/>
              <a:gd name="T5" fmla="*/ 1201 h 1442"/>
              <a:gd name="T6" fmla="*/ 913 w 1665"/>
              <a:gd name="T7" fmla="*/ 1269 h 1442"/>
              <a:gd name="T8" fmla="*/ 1665 w 1665"/>
              <a:gd name="T9" fmla="*/ 1435 h 1442"/>
              <a:gd name="T10" fmla="*/ 1665 w 1665"/>
              <a:gd name="T11" fmla="*/ 0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65" h="1442">
                <a:moveTo>
                  <a:pt x="1665" y="0"/>
                </a:moveTo>
                <a:cubicBezTo>
                  <a:pt x="0" y="0"/>
                  <a:pt x="0" y="0"/>
                  <a:pt x="0" y="0"/>
                </a:cubicBezTo>
                <a:cubicBezTo>
                  <a:pt x="115" y="566"/>
                  <a:pt x="369" y="946"/>
                  <a:pt x="790" y="1201"/>
                </a:cubicBezTo>
                <a:cubicBezTo>
                  <a:pt x="830" y="1225"/>
                  <a:pt x="871" y="1248"/>
                  <a:pt x="913" y="1269"/>
                </a:cubicBezTo>
                <a:cubicBezTo>
                  <a:pt x="1128" y="1379"/>
                  <a:pt x="1403" y="1442"/>
                  <a:pt x="1665" y="1435"/>
                </a:cubicBezTo>
                <a:lnTo>
                  <a:pt x="1665" y="0"/>
                </a:lnTo>
                <a:close/>
              </a:path>
            </a:pathLst>
          </a:custGeom>
          <a:solidFill>
            <a:srgbClr val="004F9E">
              <a:alpha val="8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" name="ZoneTexte 15"/>
          <p:cNvSpPr txBox="1"/>
          <p:nvPr userDrawn="1"/>
        </p:nvSpPr>
        <p:spPr>
          <a:xfrm>
            <a:off x="683568" y="4167224"/>
            <a:ext cx="19050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800" b="1" dirty="0" smtClean="0">
                <a:solidFill>
                  <a:schemeClr val="tx2"/>
                </a:solidFill>
              </a:rPr>
              <a:t>DELIVERED</a:t>
            </a:r>
            <a:r>
              <a:rPr lang="fr-FR" sz="1800" b="1" baseline="0" dirty="0" smtClean="0">
                <a:solidFill>
                  <a:schemeClr val="tx2"/>
                </a:solidFill>
              </a:rPr>
              <a:t> BY</a:t>
            </a:r>
            <a:endParaRPr lang="fr-FR" sz="1800" b="1" dirty="0" smtClean="0">
              <a:solidFill>
                <a:schemeClr val="tx2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5"/>
          </p:nvPr>
        </p:nvSpPr>
        <p:spPr>
          <a:xfrm>
            <a:off x="5495768" y="327211"/>
            <a:ext cx="3095625" cy="2735263"/>
          </a:xfrm>
        </p:spPr>
        <p:txBody>
          <a:bodyPr>
            <a:noAutofit/>
          </a:bodyPr>
          <a:lstStyle>
            <a:lvl1pPr algn="r">
              <a:lnSpc>
                <a:spcPct val="80000"/>
              </a:lnSpc>
              <a:defRPr sz="3500" cap="all">
                <a:solidFill>
                  <a:srgbClr val="FFFFFF"/>
                </a:solidFill>
              </a:defRPr>
            </a:lvl1pPr>
            <a:lvl2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grpSp>
        <p:nvGrpSpPr>
          <p:cNvPr id="11" name="Group 6"/>
          <p:cNvGrpSpPr>
            <a:grpSpLocks noChangeAspect="1"/>
          </p:cNvGrpSpPr>
          <p:nvPr userDrawn="1"/>
        </p:nvGrpSpPr>
        <p:grpSpPr bwMode="auto">
          <a:xfrm>
            <a:off x="666907" y="4474455"/>
            <a:ext cx="2983979" cy="682890"/>
            <a:chOff x="1457" y="1832"/>
            <a:chExt cx="2849" cy="652"/>
          </a:xfrm>
        </p:grpSpPr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8" name="ZoneTexte 17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e 18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522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- Titre court -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755577" y="2708920"/>
            <a:ext cx="3672408" cy="324103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180000" tIns="0" rIns="180000" bIns="0" rtlCol="0" anchor="ctr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fr-FR" sz="2200" b="1" cap="all">
              <a:solidFill>
                <a:schemeClr val="tx2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4" hasCustomPrompt="1"/>
          </p:nvPr>
        </p:nvSpPr>
        <p:spPr>
          <a:xfrm>
            <a:off x="917037" y="2894656"/>
            <a:ext cx="3337035" cy="285822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z="1400" dirty="0" smtClean="0"/>
              <a:t>Titre du graphique sur une ou deux lignes</a:t>
            </a:r>
            <a:endParaRPr lang="fr-F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702136" y="2708920"/>
            <a:ext cx="3672408" cy="324103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180000" tIns="0" rIns="180000" bIns="0" rtlCol="0" anchor="ctr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fr-FR" sz="2200" b="1" cap="all">
              <a:solidFill>
                <a:schemeClr val="tx2"/>
              </a:solidFill>
            </a:endParaRPr>
          </a:p>
        </p:txBody>
      </p:sp>
      <p:sp>
        <p:nvSpPr>
          <p:cNvPr id="13" name="Espace réservé du contenu 10"/>
          <p:cNvSpPr>
            <a:spLocks noGrp="1"/>
          </p:cNvSpPr>
          <p:nvPr>
            <p:ph sz="quarter" idx="15" hasCustomPrompt="1"/>
          </p:nvPr>
        </p:nvSpPr>
        <p:spPr>
          <a:xfrm>
            <a:off x="4863596" y="2894656"/>
            <a:ext cx="3337035" cy="285822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z="1400" dirty="0" smtClean="0"/>
              <a:t>Titre du graphique sur une ou deux lignes</a:t>
            </a:r>
            <a:endParaRPr lang="fr-FR" dirty="0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041530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 - Titre court -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Espace réservé du texte 5"/>
          <p:cNvSpPr>
            <a:spLocks noGrp="1"/>
          </p:cNvSpPr>
          <p:nvPr>
            <p:ph type="body" sz="quarter" idx="21"/>
          </p:nvPr>
        </p:nvSpPr>
        <p:spPr>
          <a:xfrm>
            <a:off x="3698438" y="2377548"/>
            <a:ext cx="2097697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4" name="Espace réservé du texte 5"/>
          <p:cNvSpPr>
            <a:spLocks noGrp="1"/>
          </p:cNvSpPr>
          <p:nvPr>
            <p:ph type="body" sz="quarter" idx="22"/>
          </p:nvPr>
        </p:nvSpPr>
        <p:spPr>
          <a:xfrm>
            <a:off x="6847120" y="2377548"/>
            <a:ext cx="1392535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886271" y="2377548"/>
            <a:ext cx="1666429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8" name="Espace réservé du texte 8"/>
          <p:cNvSpPr>
            <a:spLocks noGrp="1"/>
          </p:cNvSpPr>
          <p:nvPr>
            <p:ph type="body" sz="quarter" idx="26"/>
          </p:nvPr>
        </p:nvSpPr>
        <p:spPr>
          <a:xfrm>
            <a:off x="3059031" y="2960469"/>
            <a:ext cx="3356057" cy="3173631"/>
          </a:xfr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2016000" rIns="144000" bIns="144000">
            <a:noAutofit/>
          </a:bodyPr>
          <a:lstStyle>
            <a:lvl1pPr>
              <a:spcAft>
                <a:spcPts val="0"/>
              </a:spcAft>
              <a:defRPr sz="1980" b="0" cap="none" baseline="0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3"/>
          </p:nvPr>
        </p:nvSpPr>
        <p:spPr>
          <a:xfrm>
            <a:off x="621084" y="2960469"/>
            <a:ext cx="2221379" cy="3173631"/>
          </a:xfr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108000" rIns="144000" bIns="144000">
            <a:noAutofit/>
          </a:bodyPr>
          <a:lstStyle>
            <a:lvl1pPr>
              <a:spcAft>
                <a:spcPts val="0"/>
              </a:spcAft>
              <a:defRPr sz="1000" cap="none" baseline="0">
                <a:solidFill>
                  <a:schemeClr val="tx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25"/>
          </p:nvPr>
        </p:nvSpPr>
        <p:spPr>
          <a:xfrm>
            <a:off x="6594048" y="2960469"/>
            <a:ext cx="1904195" cy="3173631"/>
          </a:xfr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108000" rIns="144000" bIns="144000">
            <a:noAutofit/>
          </a:bodyPr>
          <a:lstStyle>
            <a:lvl1pPr>
              <a:spcAft>
                <a:spcPts val="0"/>
              </a:spcAft>
              <a:defRPr sz="1000" cap="none" baseline="0">
                <a:solidFill>
                  <a:schemeClr val="tx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27"/>
          </p:nvPr>
        </p:nvSpPr>
        <p:spPr>
          <a:xfrm>
            <a:off x="5065134" y="2960469"/>
            <a:ext cx="1349954" cy="1936800"/>
          </a:xfrm>
          <a:solidFill>
            <a:schemeClr val="bg2"/>
          </a:solidFill>
          <a:ln w="6350">
            <a:noFill/>
          </a:ln>
          <a:effectLst/>
        </p:spPr>
        <p:txBody>
          <a:bodyPr lIns="144000" tIns="36000" rIns="144000" bIns="144000">
            <a:noAutofit/>
          </a:bodyPr>
          <a:lstStyle>
            <a:lvl1pPr>
              <a:spcBef>
                <a:spcPts val="300"/>
              </a:spcBef>
              <a:spcAft>
                <a:spcPts val="0"/>
              </a:spcAft>
              <a:defRPr sz="2000" cap="none" baseline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57" name="Espace réservé pour une image  54"/>
          <p:cNvSpPr>
            <a:spLocks noGrp="1"/>
          </p:cNvSpPr>
          <p:nvPr>
            <p:ph type="pic" sz="quarter" idx="24"/>
          </p:nvPr>
        </p:nvSpPr>
        <p:spPr>
          <a:xfrm>
            <a:off x="3103154" y="3009577"/>
            <a:ext cx="1913345" cy="1835267"/>
          </a:xfrm>
          <a:solidFill>
            <a:schemeClr val="bg1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fr-FR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smtClean="0"/>
              <a:t>Cliquez sur l'icône pour ajouter une imag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8027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/>
          <p:cNvSpPr>
            <a:spLocks noGrp="1"/>
          </p:cNvSpPr>
          <p:nvPr>
            <p:ph type="body" sz="quarter" idx="18"/>
          </p:nvPr>
        </p:nvSpPr>
        <p:spPr>
          <a:xfrm>
            <a:off x="4458417" y="2084851"/>
            <a:ext cx="2289600" cy="1152128"/>
          </a:xfrm>
          <a:solidFill>
            <a:schemeClr val="bg1">
              <a:alpha val="91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17"/>
          <p:cNvSpPr>
            <a:spLocks noGrp="1"/>
          </p:cNvSpPr>
          <p:nvPr>
            <p:ph type="body" sz="quarter" idx="26"/>
          </p:nvPr>
        </p:nvSpPr>
        <p:spPr>
          <a:xfrm>
            <a:off x="4458417" y="3404998"/>
            <a:ext cx="2289600" cy="1152128"/>
          </a:xfrm>
          <a:solidFill>
            <a:schemeClr val="bg1">
              <a:alpha val="91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7" name="Espace réservé du texte 17"/>
          <p:cNvSpPr>
            <a:spLocks noGrp="1"/>
          </p:cNvSpPr>
          <p:nvPr>
            <p:ph type="body" sz="quarter" idx="29"/>
          </p:nvPr>
        </p:nvSpPr>
        <p:spPr>
          <a:xfrm>
            <a:off x="4458417" y="4725144"/>
            <a:ext cx="2289600" cy="1152128"/>
          </a:xfrm>
          <a:solidFill>
            <a:schemeClr val="bg1">
              <a:alpha val="91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24"/>
          </p:nvPr>
        </p:nvSpPr>
        <p:spPr>
          <a:xfrm>
            <a:off x="6732241" y="2084851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6849542" y="2084454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1" name="Espace réservé du texte 17"/>
          <p:cNvSpPr>
            <a:spLocks noGrp="1"/>
          </p:cNvSpPr>
          <p:nvPr>
            <p:ph type="body" sz="quarter" idx="27"/>
          </p:nvPr>
        </p:nvSpPr>
        <p:spPr>
          <a:xfrm>
            <a:off x="6732241" y="3404998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6849542" y="3404601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8" name="Espace réservé du texte 17"/>
          <p:cNvSpPr>
            <a:spLocks noGrp="1"/>
          </p:cNvSpPr>
          <p:nvPr>
            <p:ph type="body" sz="quarter" idx="30"/>
          </p:nvPr>
        </p:nvSpPr>
        <p:spPr>
          <a:xfrm>
            <a:off x="6732241" y="4725144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Espace réservé du texte 9"/>
          <p:cNvSpPr>
            <a:spLocks noGrp="1"/>
          </p:cNvSpPr>
          <p:nvPr>
            <p:ph type="body" sz="quarter" idx="31" hasCustomPrompt="1"/>
          </p:nvPr>
        </p:nvSpPr>
        <p:spPr>
          <a:xfrm>
            <a:off x="6849542" y="4724747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30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-32372" y="3559365"/>
            <a:ext cx="2800972" cy="2317907"/>
          </a:xfrm>
          <a:solidFill>
            <a:srgbClr val="FFFFFF">
              <a:alpha val="90000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60000" rIns="180000" anchor="ctr" anchorCtr="0">
            <a:noAutofit/>
          </a:bodyPr>
          <a:lstStyle>
            <a:lvl1pPr>
              <a:spcAft>
                <a:spcPts val="0"/>
              </a:spcAft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e 2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Image 3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34" name="Groupe 33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6" name="Connecteur droit 3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ZoneTexte 39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2693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174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/>
          <p:cNvSpPr>
            <a:spLocks noGrp="1"/>
          </p:cNvSpPr>
          <p:nvPr>
            <p:ph type="body" sz="quarter" idx="18"/>
          </p:nvPr>
        </p:nvSpPr>
        <p:spPr>
          <a:xfrm>
            <a:off x="4458417" y="2084851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17"/>
          <p:cNvSpPr>
            <a:spLocks noGrp="1"/>
          </p:cNvSpPr>
          <p:nvPr>
            <p:ph type="body" sz="quarter" idx="26"/>
          </p:nvPr>
        </p:nvSpPr>
        <p:spPr>
          <a:xfrm>
            <a:off x="4458417" y="3404998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7" name="Espace réservé du texte 17"/>
          <p:cNvSpPr>
            <a:spLocks noGrp="1"/>
          </p:cNvSpPr>
          <p:nvPr>
            <p:ph type="body" sz="quarter" idx="29"/>
          </p:nvPr>
        </p:nvSpPr>
        <p:spPr>
          <a:xfrm>
            <a:off x="4458417" y="4725144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24"/>
          </p:nvPr>
        </p:nvSpPr>
        <p:spPr>
          <a:xfrm>
            <a:off x="6732241" y="2084851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6849542" y="2084454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1" name="Espace réservé du texte 17"/>
          <p:cNvSpPr>
            <a:spLocks noGrp="1"/>
          </p:cNvSpPr>
          <p:nvPr>
            <p:ph type="body" sz="quarter" idx="27"/>
          </p:nvPr>
        </p:nvSpPr>
        <p:spPr>
          <a:xfrm>
            <a:off x="6732241" y="3404998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6849542" y="3404601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8" name="Espace réservé du texte 17"/>
          <p:cNvSpPr>
            <a:spLocks noGrp="1"/>
          </p:cNvSpPr>
          <p:nvPr>
            <p:ph type="body" sz="quarter" idx="30"/>
          </p:nvPr>
        </p:nvSpPr>
        <p:spPr>
          <a:xfrm>
            <a:off x="6732241" y="4725144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9" name="Espace réservé du texte 9"/>
          <p:cNvSpPr>
            <a:spLocks noGrp="1"/>
          </p:cNvSpPr>
          <p:nvPr>
            <p:ph type="body" sz="quarter" idx="31" hasCustomPrompt="1"/>
          </p:nvPr>
        </p:nvSpPr>
        <p:spPr>
          <a:xfrm>
            <a:off x="6849542" y="4724747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Image 3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3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-32372" y="3559365"/>
            <a:ext cx="2800972" cy="2317907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60000" rIns="180000" anchor="ctr" anchorCtr="0">
            <a:noAutofit/>
          </a:bodyPr>
          <a:lstStyle>
            <a:lvl1pPr>
              <a:spcAft>
                <a:spcPts val="0"/>
              </a:spcAft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grpSp>
        <p:nvGrpSpPr>
          <p:cNvPr id="36" name="Groupe 35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7" name="Connecteur droit 36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39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ZoneTexte 29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027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1302990" y="3648534"/>
            <a:ext cx="4921974" cy="213904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33"/>
          </p:nvPr>
        </p:nvSpPr>
        <p:spPr>
          <a:xfrm>
            <a:off x="7605976" y="764705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31" name="Espace réservé pour une image  7"/>
          <p:cNvSpPr>
            <a:spLocks noGrp="1"/>
          </p:cNvSpPr>
          <p:nvPr>
            <p:ph type="pic" sz="quarter" idx="34"/>
          </p:nvPr>
        </p:nvSpPr>
        <p:spPr>
          <a:xfrm>
            <a:off x="7605976" y="4725144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35"/>
          </p:nvPr>
        </p:nvSpPr>
        <p:spPr>
          <a:xfrm>
            <a:off x="7605976" y="2084851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6"/>
          </p:nvPr>
        </p:nvSpPr>
        <p:spPr>
          <a:xfrm>
            <a:off x="7605976" y="3404997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0" name="Groupe 1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ZoneTexte 2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46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1302990" y="3648534"/>
            <a:ext cx="4921974" cy="213904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288000" tIns="0" rIns="288000" bIns="0" rtlCol="0" anchor="ctr" anchorCtr="0">
            <a:noAutofit/>
          </a:bodyPr>
          <a:lstStyle>
            <a:lvl1pPr>
              <a:defRPr lang="fr-FR" sz="2200" b="0" dirty="0" smtClean="0">
                <a:solidFill>
                  <a:srgbClr val="00519E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33"/>
          </p:nvPr>
        </p:nvSpPr>
        <p:spPr>
          <a:xfrm>
            <a:off x="7605976" y="764705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31" name="Espace réservé pour une image  7"/>
          <p:cNvSpPr>
            <a:spLocks noGrp="1"/>
          </p:cNvSpPr>
          <p:nvPr>
            <p:ph type="pic" sz="quarter" idx="34"/>
          </p:nvPr>
        </p:nvSpPr>
        <p:spPr>
          <a:xfrm>
            <a:off x="7605976" y="4725144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35"/>
          </p:nvPr>
        </p:nvSpPr>
        <p:spPr>
          <a:xfrm>
            <a:off x="7605976" y="2084851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6"/>
          </p:nvPr>
        </p:nvSpPr>
        <p:spPr>
          <a:xfrm>
            <a:off x="7605976" y="3404997"/>
            <a:ext cx="1538024" cy="1152128"/>
          </a:xfrm>
        </p:spPr>
        <p:txBody>
          <a:bodyPr>
            <a:noAutofit/>
          </a:bodyPr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0" name="Groupe 1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ZoneTexte 2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49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5292081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1461334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898578" y="2727544"/>
            <a:ext cx="7345856" cy="3365371"/>
          </a:xfrm>
          <a:solidFill>
            <a:srgbClr val="00519E"/>
          </a:solidFill>
          <a:ln w="6350">
            <a:solidFill>
              <a:srgbClr val="00519E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852000" rIns="288000" anchor="ctr" anchorCtr="0">
            <a:noAutofit/>
          </a:bodyPr>
          <a:lstStyle>
            <a:lvl1pPr>
              <a:spcAft>
                <a:spcPts val="1200"/>
              </a:spcAft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rois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257380" y="493160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898578" y="2727544"/>
            <a:ext cx="3482922" cy="3365371"/>
          </a:xfrm>
          <a:prstGeom prst="homePlate">
            <a:avLst>
              <a:gd name="adj" fmla="val 14904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 marL="133200" indent="-1332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e 16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8" name="Connecteur droit 17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e 2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ZoneTexte 28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278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79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6263391" y="2397847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432644" y="2397847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257380" y="493160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1885950" y="2727544"/>
            <a:ext cx="7258049" cy="3365371"/>
          </a:xfrm>
          <a:solidFill>
            <a:schemeClr val="tx2"/>
          </a:solidFill>
          <a:ln w="6350">
            <a:solidFill>
              <a:srgbClr val="00519E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852000" rIns="288000" anchor="ctr" anchorCtr="0">
            <a:noAutofit/>
          </a:bodyPr>
          <a:lstStyle>
            <a:lvl1pPr>
              <a:spcAft>
                <a:spcPts val="1200"/>
              </a:spcAft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roisième niveau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1869888" y="2727544"/>
            <a:ext cx="3387492" cy="3365371"/>
          </a:xfrm>
          <a:prstGeom prst="homePlate">
            <a:avLst>
              <a:gd name="adj" fmla="val 16885"/>
            </a:avLst>
          </a:pr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 marL="133200" indent="-1332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0" y="2725163"/>
            <a:ext cx="1872585" cy="3372311"/>
          </a:xfrm>
          <a:solidFill>
            <a:schemeClr val="bg1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9" name="ZoneTexte 18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20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oupe 21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3" name="Connecteur droit 22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e 25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7" name="Connecteur droit 26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ZoneTexte 30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495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me libre 15"/>
          <p:cNvSpPr/>
          <p:nvPr userDrawn="1"/>
        </p:nvSpPr>
        <p:spPr>
          <a:xfrm>
            <a:off x="-6350" y="3120405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5875">
            <a:solidFill>
              <a:schemeClr val="bg1">
                <a:lumMod val="75000"/>
              </a:schemeClr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2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1287838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1" name="Espace réservé pour une image  9"/>
          <p:cNvSpPr>
            <a:spLocks noGrp="1"/>
          </p:cNvSpPr>
          <p:nvPr>
            <p:ph type="pic" sz="quarter" idx="38"/>
          </p:nvPr>
        </p:nvSpPr>
        <p:spPr>
          <a:xfrm>
            <a:off x="3781221" y="2275204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2" name="Espace réservé pour une image  9"/>
          <p:cNvSpPr>
            <a:spLocks noGrp="1"/>
          </p:cNvSpPr>
          <p:nvPr>
            <p:ph type="pic" sz="quarter" idx="39"/>
          </p:nvPr>
        </p:nvSpPr>
        <p:spPr>
          <a:xfrm>
            <a:off x="6274605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40" hasCustomPrompt="1"/>
          </p:nvPr>
        </p:nvSpPr>
        <p:spPr>
          <a:xfrm>
            <a:off x="1372235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3" name="Espace réservé du texte 6"/>
          <p:cNvSpPr>
            <a:spLocks noGrp="1"/>
          </p:cNvSpPr>
          <p:nvPr>
            <p:ph type="body" sz="quarter" idx="41" hasCustomPrompt="1"/>
          </p:nvPr>
        </p:nvSpPr>
        <p:spPr>
          <a:xfrm>
            <a:off x="3640981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4" name="Espace réservé du texte 6"/>
          <p:cNvSpPr>
            <a:spLocks noGrp="1"/>
          </p:cNvSpPr>
          <p:nvPr>
            <p:ph type="body" sz="quarter" idx="42" hasCustomPrompt="1"/>
          </p:nvPr>
        </p:nvSpPr>
        <p:spPr>
          <a:xfrm>
            <a:off x="6058945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7526139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me libre 15"/>
          <p:cNvSpPr/>
          <p:nvPr userDrawn="1"/>
        </p:nvSpPr>
        <p:spPr>
          <a:xfrm>
            <a:off x="-6350" y="3120405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5875">
            <a:solidFill>
              <a:schemeClr val="bg1">
                <a:lumMod val="75000"/>
              </a:schemeClr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2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1287838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21" name="Espace réservé pour une image  9"/>
          <p:cNvSpPr>
            <a:spLocks noGrp="1"/>
          </p:cNvSpPr>
          <p:nvPr>
            <p:ph type="pic" sz="quarter" idx="38"/>
          </p:nvPr>
        </p:nvSpPr>
        <p:spPr>
          <a:xfrm>
            <a:off x="3781221" y="2275204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2" name="Espace réservé pour une image  9"/>
          <p:cNvSpPr>
            <a:spLocks noGrp="1"/>
          </p:cNvSpPr>
          <p:nvPr>
            <p:ph type="pic" sz="quarter" idx="39"/>
          </p:nvPr>
        </p:nvSpPr>
        <p:spPr>
          <a:xfrm>
            <a:off x="6274605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40" hasCustomPrompt="1"/>
          </p:nvPr>
        </p:nvSpPr>
        <p:spPr>
          <a:xfrm>
            <a:off x="1372235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3" name="Espace réservé du texte 6"/>
          <p:cNvSpPr>
            <a:spLocks noGrp="1"/>
          </p:cNvSpPr>
          <p:nvPr>
            <p:ph type="body" sz="quarter" idx="41" hasCustomPrompt="1"/>
          </p:nvPr>
        </p:nvSpPr>
        <p:spPr>
          <a:xfrm>
            <a:off x="3640981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4" name="Espace réservé du texte 6"/>
          <p:cNvSpPr>
            <a:spLocks noGrp="1"/>
          </p:cNvSpPr>
          <p:nvPr>
            <p:ph type="body" sz="quarter" idx="42" hasCustomPrompt="1"/>
          </p:nvPr>
        </p:nvSpPr>
        <p:spPr>
          <a:xfrm>
            <a:off x="6058945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233242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5"/>
          <p:cNvSpPr>
            <a:spLocks/>
          </p:cNvSpPr>
          <p:nvPr userDrawn="1"/>
        </p:nvSpPr>
        <p:spPr bwMode="auto">
          <a:xfrm>
            <a:off x="3175" y="-1588"/>
            <a:ext cx="4932363" cy="2919413"/>
          </a:xfrm>
          <a:custGeom>
            <a:avLst/>
            <a:gdLst>
              <a:gd name="T0" fmla="*/ 0 w 4807"/>
              <a:gd name="T1" fmla="*/ 3053 h 3053"/>
              <a:gd name="T2" fmla="*/ 0 w 4807"/>
              <a:gd name="T3" fmla="*/ 3053 h 3053"/>
              <a:gd name="T4" fmla="*/ 2920 w 4807"/>
              <a:gd name="T5" fmla="*/ 2121 h 3053"/>
              <a:gd name="T6" fmla="*/ 3311 w 4807"/>
              <a:gd name="T7" fmla="*/ 1830 h 3053"/>
              <a:gd name="T8" fmla="*/ 4807 w 4807"/>
              <a:gd name="T9" fmla="*/ 0 h 3053"/>
              <a:gd name="T10" fmla="*/ 0 w 4807"/>
              <a:gd name="T11" fmla="*/ 0 h 3053"/>
              <a:gd name="T12" fmla="*/ 0 w 4807"/>
              <a:gd name="T13" fmla="*/ 3053 h 3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07" h="3053">
                <a:moveTo>
                  <a:pt x="0" y="3053"/>
                </a:moveTo>
                <a:lnTo>
                  <a:pt x="0" y="3053"/>
                </a:lnTo>
                <a:cubicBezTo>
                  <a:pt x="1028" y="3035"/>
                  <a:pt x="2129" y="2669"/>
                  <a:pt x="2920" y="2121"/>
                </a:cubicBezTo>
                <a:cubicBezTo>
                  <a:pt x="3056" y="2027"/>
                  <a:pt x="3186" y="1930"/>
                  <a:pt x="3311" y="1830"/>
                </a:cubicBezTo>
                <a:cubicBezTo>
                  <a:pt x="3956" y="1312"/>
                  <a:pt x="4452" y="710"/>
                  <a:pt x="4807" y="0"/>
                </a:cubicBezTo>
                <a:lnTo>
                  <a:pt x="0" y="0"/>
                </a:lnTo>
                <a:lnTo>
                  <a:pt x="0" y="3053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47470" y="4002977"/>
            <a:ext cx="5396530" cy="1442236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324000" tIns="324000" rIns="324000" bIns="324000" rtlCol="0" anchor="ctr">
            <a:spAutoFit/>
          </a:bodyPr>
          <a:lstStyle>
            <a:lvl1pPr>
              <a:defRPr lang="fr-FR" sz="3200" b="0" cap="all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grpSp>
        <p:nvGrpSpPr>
          <p:cNvPr id="12" name="Group 6"/>
          <p:cNvGrpSpPr>
            <a:grpSpLocks noChangeAspect="1"/>
          </p:cNvGrpSpPr>
          <p:nvPr userDrawn="1"/>
        </p:nvGrpSpPr>
        <p:grpSpPr bwMode="auto">
          <a:xfrm>
            <a:off x="882347" y="853379"/>
            <a:ext cx="1926000" cy="440769"/>
            <a:chOff x="1457" y="1832"/>
            <a:chExt cx="2849" cy="652"/>
          </a:xfrm>
        </p:grpSpPr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4" name="ZoneTexte 2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e 24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839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2" name="Forme libre 21"/>
          <p:cNvSpPr/>
          <p:nvPr userDrawn="1"/>
        </p:nvSpPr>
        <p:spPr>
          <a:xfrm>
            <a:off x="-6350" y="4149089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40" hasCustomPrompt="1"/>
          </p:nvPr>
        </p:nvSpPr>
        <p:spPr>
          <a:xfrm>
            <a:off x="1147763" y="360997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41" hasCustomPrompt="1"/>
          </p:nvPr>
        </p:nvSpPr>
        <p:spPr>
          <a:xfrm>
            <a:off x="3578120" y="316383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42" hasCustomPrompt="1"/>
          </p:nvPr>
        </p:nvSpPr>
        <p:spPr>
          <a:xfrm>
            <a:off x="5941757" y="3560650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e 11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39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22" name="Forme libre 21"/>
          <p:cNvSpPr/>
          <p:nvPr userDrawn="1"/>
        </p:nvSpPr>
        <p:spPr>
          <a:xfrm>
            <a:off x="-6350" y="4149089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40" hasCustomPrompt="1"/>
          </p:nvPr>
        </p:nvSpPr>
        <p:spPr>
          <a:xfrm>
            <a:off x="1147763" y="360997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41" hasCustomPrompt="1"/>
          </p:nvPr>
        </p:nvSpPr>
        <p:spPr>
          <a:xfrm>
            <a:off x="3578120" y="316383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42" hasCustomPrompt="1"/>
          </p:nvPr>
        </p:nvSpPr>
        <p:spPr>
          <a:xfrm>
            <a:off x="5941757" y="3560650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8" name="Connecteur droit 17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56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5292081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1461334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898578" y="2727544"/>
            <a:ext cx="7345856" cy="3365371"/>
          </a:xfrm>
          <a:solidFill>
            <a:srgbClr val="00519E"/>
          </a:solidFill>
          <a:ln w="6350">
            <a:solidFill>
              <a:srgbClr val="00519E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852000" rIns="288000" anchor="ctr" anchorCtr="0">
            <a:noAutofit/>
          </a:bodyPr>
          <a:lstStyle>
            <a:lvl1pPr>
              <a:spcAft>
                <a:spcPts val="1200"/>
              </a:spcAft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rois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>
                <a:solidFill>
                  <a:prstClr val="white"/>
                </a:solidFill>
              </a:rPr>
              <a:pPr/>
              <a:t>‹N°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257380" y="493160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898578" y="2727544"/>
            <a:ext cx="3482922" cy="3365371"/>
          </a:xfrm>
          <a:prstGeom prst="homePlate">
            <a:avLst>
              <a:gd name="adj" fmla="val 14904"/>
            </a:avLst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 marL="133200" indent="-1332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 votre texte dans la zone d’insertion de texte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dirty="0">
              <a:solidFill>
                <a:srgbClr val="0051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FontTx/>
              <a:buAutoNum type="arabicPeriod"/>
              <a:defRPr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e 16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8" name="Connecteur droit 17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0" name="Groupe 2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1" name="Connecteur droit 3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s l’onglet 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ion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ans le groupe 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e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quez sur 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-tête et pied de page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z la case à cocher 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puis saisissez le texte </a:t>
            </a:r>
            <a:b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z la case à cocher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 pas afficher sur la diapositive </a:t>
            </a:r>
            <a:b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titre.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z la case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éro de diapositive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z la case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ctivez la case 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fixe </a:t>
            </a:r>
            <a:b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 saisissez la date souhaitée.</a:t>
            </a:r>
          </a:p>
          <a:p>
            <a:pPr marL="228600" indent="-228600">
              <a:spcBef>
                <a:spcPts val="200"/>
              </a:spcBef>
              <a:buFontTx/>
              <a:buAutoNum type="arabicPeriod"/>
            </a:pP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quez sur </a:t>
            </a:r>
            <a:r>
              <a:rPr lang="fr-FR" sz="900" b="1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quer partout</a:t>
            </a:r>
            <a:r>
              <a:rPr lang="fr-FR" sz="900" dirty="0">
                <a:solidFill>
                  <a:srgbClr val="0051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fr-FR" sz="900" dirty="0">
              <a:solidFill>
                <a:srgbClr val="0051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3890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79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tit Titre + 4 Mo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54487">
              <a:alpha val="84706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6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18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30" name="Groupe 2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1" name="Connecteur droit 3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ZoneTexte 3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455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yen Titre + 4 Modul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54487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5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CLIENTS</a:t>
            </a:r>
            <a:endParaRPr lang="fr-FR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17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0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6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21" name="Groupe 2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ZoneTexte 28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473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Titre + 4 Modul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54487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6" name="Espace réservé pour une image  14"/>
          <p:cNvSpPr>
            <a:spLocks noGrp="1"/>
          </p:cNvSpPr>
          <p:nvPr>
            <p:ph type="pic" sz="quarter" idx="24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CLIENTS</a:t>
            </a:r>
            <a:endParaRPr lang="fr-FR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17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9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7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21" name="Groupe 2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ZoneTexte 28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53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tit Titre + 3 Modules +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54487">
              <a:alpha val="84706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/>
              <a:t>Présentation</a:t>
            </a:r>
            <a:r>
              <a:rPr lang="en-US" dirty="0" smtClean="0"/>
              <a:t> de STEF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CLIENTS</a:t>
            </a:r>
            <a:endParaRPr lang="fr-FR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1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17" name="Groupe 1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709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yen Titre + 3 Modules +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/>
              <a:t>Présentation</a:t>
            </a:r>
            <a:r>
              <a:rPr lang="en-US" dirty="0" smtClean="0"/>
              <a:t> de STEF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9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54487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CLIENTS</a:t>
            </a:r>
            <a:endParaRPr lang="fr-FR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0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6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17" name="Groupe 1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916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Titre + 3 Modules +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6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54487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33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1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texte 5"/>
          <p:cNvSpPr>
            <a:spLocks noGrp="1"/>
          </p:cNvSpPr>
          <p:nvPr>
            <p:ph type="body" sz="quarter" idx="37" hasCustomPrompt="1"/>
          </p:nvPr>
        </p:nvSpPr>
        <p:spPr>
          <a:xfrm>
            <a:off x="5076000" y="2095590"/>
            <a:ext cx="4068000" cy="1152000"/>
          </a:xfrm>
          <a:solidFill>
            <a:srgbClr val="FFFFFF">
              <a:alpha val="89804"/>
            </a:srgb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grpSp>
        <p:nvGrpSpPr>
          <p:cNvPr id="17" name="Groupe 1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2" name="Connecteur droit 2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91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5"/>
          <p:cNvSpPr>
            <a:spLocks/>
          </p:cNvSpPr>
          <p:nvPr userDrawn="1"/>
        </p:nvSpPr>
        <p:spPr bwMode="auto">
          <a:xfrm>
            <a:off x="3175" y="-1588"/>
            <a:ext cx="4932363" cy="2919413"/>
          </a:xfrm>
          <a:custGeom>
            <a:avLst/>
            <a:gdLst>
              <a:gd name="T0" fmla="*/ 0 w 4807"/>
              <a:gd name="T1" fmla="*/ 3053 h 3053"/>
              <a:gd name="T2" fmla="*/ 0 w 4807"/>
              <a:gd name="T3" fmla="*/ 3053 h 3053"/>
              <a:gd name="T4" fmla="*/ 2920 w 4807"/>
              <a:gd name="T5" fmla="*/ 2121 h 3053"/>
              <a:gd name="T6" fmla="*/ 3311 w 4807"/>
              <a:gd name="T7" fmla="*/ 1830 h 3053"/>
              <a:gd name="T8" fmla="*/ 4807 w 4807"/>
              <a:gd name="T9" fmla="*/ 0 h 3053"/>
              <a:gd name="T10" fmla="*/ 0 w 4807"/>
              <a:gd name="T11" fmla="*/ 0 h 3053"/>
              <a:gd name="T12" fmla="*/ 0 w 4807"/>
              <a:gd name="T13" fmla="*/ 3053 h 3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07" h="3053">
                <a:moveTo>
                  <a:pt x="0" y="3053"/>
                </a:moveTo>
                <a:lnTo>
                  <a:pt x="0" y="3053"/>
                </a:lnTo>
                <a:cubicBezTo>
                  <a:pt x="1028" y="3035"/>
                  <a:pt x="2129" y="2669"/>
                  <a:pt x="2920" y="2121"/>
                </a:cubicBezTo>
                <a:cubicBezTo>
                  <a:pt x="3056" y="2027"/>
                  <a:pt x="3186" y="1930"/>
                  <a:pt x="3311" y="1830"/>
                </a:cubicBezTo>
                <a:cubicBezTo>
                  <a:pt x="3956" y="1312"/>
                  <a:pt x="4452" y="710"/>
                  <a:pt x="4807" y="0"/>
                </a:cubicBezTo>
                <a:lnTo>
                  <a:pt x="0" y="0"/>
                </a:lnTo>
                <a:lnTo>
                  <a:pt x="0" y="3053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47470" y="4002977"/>
            <a:ext cx="5396530" cy="1442236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324000" tIns="324000" rIns="324000" bIns="324000" rtlCol="0" anchor="ctr">
            <a:spAutoFit/>
          </a:bodyPr>
          <a:lstStyle>
            <a:lvl1pPr>
              <a:defRPr lang="fr-FR" sz="3200" b="0" cap="all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0000"/>
              </a:lnSpc>
            </a:pPr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grpSp>
        <p:nvGrpSpPr>
          <p:cNvPr id="12" name="Group 6"/>
          <p:cNvGrpSpPr>
            <a:grpSpLocks noChangeAspect="1"/>
          </p:cNvGrpSpPr>
          <p:nvPr userDrawn="1"/>
        </p:nvGrpSpPr>
        <p:grpSpPr bwMode="auto">
          <a:xfrm>
            <a:off x="882347" y="853379"/>
            <a:ext cx="1926000" cy="440769"/>
            <a:chOff x="1457" y="1832"/>
            <a:chExt cx="2849" cy="652"/>
          </a:xfrm>
        </p:grpSpPr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e 19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1" name="Connecteur droit 2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0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7" name="Groupe 36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8" name="Connecteur droit 37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39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ZoneTexte 41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51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apitre Numéro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92165" y="3501008"/>
            <a:ext cx="950747" cy="2444400"/>
          </a:xfrm>
          <a:solidFill>
            <a:schemeClr val="bg2">
              <a:alpha val="93000"/>
            </a:schemeClr>
          </a:solidFill>
          <a:ln w="6350">
            <a:solidFill>
              <a:schemeClr val="bg2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bIns="0" anchor="ctr" anchorCtr="0">
            <a:noAutofit/>
          </a:bodyPr>
          <a:lstStyle>
            <a:lvl1pPr algn="ctr">
              <a:defRPr sz="7000" b="0"/>
            </a:lvl1pPr>
          </a:lstStyle>
          <a:p>
            <a:r>
              <a:rPr lang="fr-FR" dirty="0" smtClean="0"/>
              <a:t>N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747470" y="3501007"/>
            <a:ext cx="5396530" cy="2446177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24000" rIns="324000" bIns="36000" anchor="ctr">
            <a:normAutofit/>
          </a:bodyPr>
          <a:lstStyle>
            <a:lvl1pPr>
              <a:lnSpc>
                <a:spcPct val="80000"/>
              </a:lnSpc>
              <a:defRPr sz="3200" b="0" cap="all">
                <a:solidFill>
                  <a:schemeClr val="tx2"/>
                </a:solidFill>
              </a:defRPr>
            </a:lvl1pPr>
            <a:lvl2pPr>
              <a:defRPr sz="2200" b="1" cap="none"/>
            </a:lvl2pPr>
            <a:lvl3pPr>
              <a:defRPr sz="2200" b="1" cap="none"/>
            </a:lvl3pPr>
            <a:lvl4pPr>
              <a:defRPr sz="2200" b="1" cap="none"/>
            </a:lvl4pPr>
            <a:lvl5pPr>
              <a:defRPr sz="2200" b="1" cap="none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3175" y="-1588"/>
            <a:ext cx="4932363" cy="2919413"/>
          </a:xfrm>
          <a:custGeom>
            <a:avLst/>
            <a:gdLst>
              <a:gd name="T0" fmla="*/ 0 w 4807"/>
              <a:gd name="T1" fmla="*/ 3053 h 3053"/>
              <a:gd name="T2" fmla="*/ 0 w 4807"/>
              <a:gd name="T3" fmla="*/ 3053 h 3053"/>
              <a:gd name="T4" fmla="*/ 2920 w 4807"/>
              <a:gd name="T5" fmla="*/ 2121 h 3053"/>
              <a:gd name="T6" fmla="*/ 3311 w 4807"/>
              <a:gd name="T7" fmla="*/ 1830 h 3053"/>
              <a:gd name="T8" fmla="*/ 4807 w 4807"/>
              <a:gd name="T9" fmla="*/ 0 h 3053"/>
              <a:gd name="T10" fmla="*/ 0 w 4807"/>
              <a:gd name="T11" fmla="*/ 0 h 3053"/>
              <a:gd name="T12" fmla="*/ 0 w 4807"/>
              <a:gd name="T13" fmla="*/ 3053 h 3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07" h="3053">
                <a:moveTo>
                  <a:pt x="0" y="3053"/>
                </a:moveTo>
                <a:lnTo>
                  <a:pt x="0" y="3053"/>
                </a:lnTo>
                <a:cubicBezTo>
                  <a:pt x="1028" y="3035"/>
                  <a:pt x="2129" y="2669"/>
                  <a:pt x="2920" y="2121"/>
                </a:cubicBezTo>
                <a:cubicBezTo>
                  <a:pt x="3056" y="2027"/>
                  <a:pt x="3186" y="1930"/>
                  <a:pt x="3311" y="1830"/>
                </a:cubicBezTo>
                <a:cubicBezTo>
                  <a:pt x="3956" y="1312"/>
                  <a:pt x="4452" y="710"/>
                  <a:pt x="4807" y="0"/>
                </a:cubicBezTo>
                <a:lnTo>
                  <a:pt x="0" y="0"/>
                </a:lnTo>
                <a:lnTo>
                  <a:pt x="0" y="3053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0" name="Group 6"/>
          <p:cNvGrpSpPr>
            <a:grpSpLocks noChangeAspect="1"/>
          </p:cNvGrpSpPr>
          <p:nvPr userDrawn="1"/>
        </p:nvGrpSpPr>
        <p:grpSpPr bwMode="auto">
          <a:xfrm>
            <a:off x="882347" y="853379"/>
            <a:ext cx="1926000" cy="440769"/>
            <a:chOff x="1457" y="1832"/>
            <a:chExt cx="2849" cy="652"/>
          </a:xfrm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e 1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9" name="Connecteur droit 1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422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Numéro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792165" y="3501008"/>
            <a:ext cx="950747" cy="2444400"/>
          </a:xfrm>
          <a:solidFill>
            <a:schemeClr val="bg2">
              <a:alpha val="93000"/>
            </a:schemeClr>
          </a:solidFill>
          <a:ln w="6350">
            <a:solidFill>
              <a:schemeClr val="bg2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bIns="0" anchor="ctr" anchorCtr="0">
            <a:noAutofit/>
          </a:bodyPr>
          <a:lstStyle>
            <a:lvl1pPr algn="ctr">
              <a:defRPr sz="7000" b="0"/>
            </a:lvl1pPr>
          </a:lstStyle>
          <a:p>
            <a:r>
              <a:rPr lang="fr-FR" dirty="0" smtClean="0"/>
              <a:t>N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747470" y="3501007"/>
            <a:ext cx="5396530" cy="2446177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24000" rIns="324000" bIns="36000" anchor="ctr">
            <a:normAutofit/>
          </a:bodyPr>
          <a:lstStyle>
            <a:lvl1pPr>
              <a:lnSpc>
                <a:spcPct val="80000"/>
              </a:lnSpc>
              <a:defRPr sz="3200" b="0" cap="all">
                <a:solidFill>
                  <a:schemeClr val="tx2"/>
                </a:solidFill>
              </a:defRPr>
            </a:lvl1pPr>
            <a:lvl2pPr>
              <a:defRPr sz="2200" b="1" cap="none"/>
            </a:lvl2pPr>
            <a:lvl3pPr>
              <a:defRPr sz="2200" b="1" cap="none"/>
            </a:lvl3pPr>
            <a:lvl4pPr>
              <a:defRPr sz="2200" b="1" cap="none"/>
            </a:lvl4pPr>
            <a:lvl5pPr>
              <a:defRPr sz="2200" b="1" cap="none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3175" y="-1588"/>
            <a:ext cx="4932363" cy="2919413"/>
          </a:xfrm>
          <a:custGeom>
            <a:avLst/>
            <a:gdLst>
              <a:gd name="T0" fmla="*/ 0 w 4807"/>
              <a:gd name="T1" fmla="*/ 3053 h 3053"/>
              <a:gd name="T2" fmla="*/ 0 w 4807"/>
              <a:gd name="T3" fmla="*/ 3053 h 3053"/>
              <a:gd name="T4" fmla="*/ 2920 w 4807"/>
              <a:gd name="T5" fmla="*/ 2121 h 3053"/>
              <a:gd name="T6" fmla="*/ 3311 w 4807"/>
              <a:gd name="T7" fmla="*/ 1830 h 3053"/>
              <a:gd name="T8" fmla="*/ 4807 w 4807"/>
              <a:gd name="T9" fmla="*/ 0 h 3053"/>
              <a:gd name="T10" fmla="*/ 0 w 4807"/>
              <a:gd name="T11" fmla="*/ 0 h 3053"/>
              <a:gd name="T12" fmla="*/ 0 w 4807"/>
              <a:gd name="T13" fmla="*/ 3053 h 3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07" h="3053">
                <a:moveTo>
                  <a:pt x="0" y="3053"/>
                </a:moveTo>
                <a:lnTo>
                  <a:pt x="0" y="3053"/>
                </a:lnTo>
                <a:cubicBezTo>
                  <a:pt x="1028" y="3035"/>
                  <a:pt x="2129" y="2669"/>
                  <a:pt x="2920" y="2121"/>
                </a:cubicBezTo>
                <a:cubicBezTo>
                  <a:pt x="3056" y="2027"/>
                  <a:pt x="3186" y="1930"/>
                  <a:pt x="3311" y="1830"/>
                </a:cubicBezTo>
                <a:cubicBezTo>
                  <a:pt x="3956" y="1312"/>
                  <a:pt x="4452" y="710"/>
                  <a:pt x="4807" y="0"/>
                </a:cubicBezTo>
                <a:lnTo>
                  <a:pt x="0" y="0"/>
                </a:lnTo>
                <a:lnTo>
                  <a:pt x="0" y="3053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10" name="Group 6"/>
          <p:cNvGrpSpPr>
            <a:grpSpLocks noChangeAspect="1"/>
          </p:cNvGrpSpPr>
          <p:nvPr userDrawn="1"/>
        </p:nvGrpSpPr>
        <p:grpSpPr bwMode="auto">
          <a:xfrm>
            <a:off x="882347" y="853379"/>
            <a:ext cx="1926000" cy="440769"/>
            <a:chOff x="1457" y="1832"/>
            <a:chExt cx="2849" cy="652"/>
          </a:xfrm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e 1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9" name="Connecteur droit 1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5" name="Groupe 34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6" name="Connecteur droit 3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ZoneTexte 39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302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278380" y="3501008"/>
            <a:ext cx="1466913" cy="1143000"/>
          </a:xfrm>
          <a:solidFill>
            <a:schemeClr val="bg2">
              <a:alpha val="93000"/>
            </a:schemeClr>
          </a:solidFill>
          <a:ln w="6350">
            <a:solidFill>
              <a:schemeClr val="bg2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bIns="0">
            <a:noAutofit/>
          </a:bodyPr>
          <a:lstStyle>
            <a:lvl1pPr algn="ctr">
              <a:defRPr sz="7000" b="0"/>
            </a:lvl1pPr>
          </a:lstStyle>
          <a:p>
            <a:r>
              <a:rPr lang="fr-FR" dirty="0" smtClean="0"/>
              <a:t>N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747470" y="3501008"/>
            <a:ext cx="5396530" cy="11448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bIns="36000" anchor="ctr">
            <a:normAutofit/>
          </a:bodyPr>
          <a:lstStyle>
            <a:lvl1pPr>
              <a:defRPr sz="2200" b="1" cap="none">
                <a:solidFill>
                  <a:schemeClr val="tx2"/>
                </a:solidFill>
              </a:defRPr>
            </a:lvl1pPr>
            <a:lvl2pPr>
              <a:defRPr sz="2200" b="1" cap="none"/>
            </a:lvl2pPr>
            <a:lvl3pPr>
              <a:defRPr sz="2200" b="1" cap="none"/>
            </a:lvl3pPr>
            <a:lvl4pPr>
              <a:defRPr sz="2200" b="1" cap="none"/>
            </a:lvl4pPr>
            <a:lvl5pPr>
              <a:defRPr sz="2200" b="1" cap="none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grpSp>
        <p:nvGrpSpPr>
          <p:cNvPr id="10" name="Group 6"/>
          <p:cNvGrpSpPr>
            <a:grpSpLocks noChangeAspect="1"/>
          </p:cNvGrpSpPr>
          <p:nvPr userDrawn="1"/>
        </p:nvGrpSpPr>
        <p:grpSpPr bwMode="auto">
          <a:xfrm>
            <a:off x="882347" y="561279"/>
            <a:ext cx="1926000" cy="440769"/>
            <a:chOff x="1457" y="1832"/>
            <a:chExt cx="2849" cy="652"/>
          </a:xfrm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8" name="ZoneTexte 17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e 18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0" name="Connecteur droit 1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0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1" name="Groupe 3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2" name="Connecteur droit 3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515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3048000" y="2467928"/>
            <a:ext cx="5686425" cy="3606710"/>
          </a:xfrm>
          <a:noFill/>
          <a:effectLst/>
        </p:spPr>
        <p:txBody>
          <a:bodyPr wrap="square" lIns="0" tIns="0" rIns="0" bIns="0" anchor="t" anchorCtr="0">
            <a:noAutofit/>
          </a:bodyPr>
          <a:lstStyle>
            <a:lvl1pPr>
              <a:spcBef>
                <a:spcPts val="400"/>
              </a:spcBef>
              <a:spcAft>
                <a:spcPts val="200"/>
              </a:spcAft>
              <a:tabLst>
                <a:tab pos="5508000" algn="r"/>
              </a:tabLst>
              <a:defRPr sz="2000">
                <a:solidFill>
                  <a:schemeClr val="tx2"/>
                </a:solidFill>
              </a:defRPr>
            </a:lvl1pPr>
            <a:lvl2pPr>
              <a:spcAft>
                <a:spcPts val="200"/>
              </a:spcAft>
              <a:defRPr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Second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2401514" y="2394518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3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401514" y="3056334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4" name="Espace réservé du texte 8"/>
          <p:cNvSpPr>
            <a:spLocks noGrp="1"/>
          </p:cNvSpPr>
          <p:nvPr>
            <p:ph type="body" sz="quarter" idx="37" hasCustomPrompt="1"/>
          </p:nvPr>
        </p:nvSpPr>
        <p:spPr>
          <a:xfrm>
            <a:off x="2401514" y="3718150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6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2401514" y="4379966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7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2401514" y="5041782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40" hasCustomPrompt="1"/>
          </p:nvPr>
        </p:nvSpPr>
        <p:spPr>
          <a:xfrm>
            <a:off x="2401514" y="5703599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14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19816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pos="2880">
          <p15:clr>
            <a:srgbClr val="FBAE40"/>
          </p15:clr>
        </p15:guide>
        <p15:guide id="4294967295" pos="5502">
          <p15:clr>
            <a:srgbClr val="FBAE40"/>
          </p15:clr>
        </p15:guide>
        <p15:guide id="4294967295" orient="horz" pos="1593">
          <p15:clr>
            <a:srgbClr val="FBAE40"/>
          </p15:clr>
        </p15:guide>
        <p15:guide id="4294967295" pos="1110">
          <p15:clr>
            <a:srgbClr val="FBAE40"/>
          </p15:clr>
        </p15:guide>
        <p15:guide id="4294967295" pos="7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2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4345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2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346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2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521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1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65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ZoneTexte 3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773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 - Tit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3" name="Freeform 6"/>
          <p:cNvSpPr>
            <a:spLocks/>
          </p:cNvSpPr>
          <p:nvPr userDrawn="1"/>
        </p:nvSpPr>
        <p:spPr bwMode="auto">
          <a:xfrm>
            <a:off x="3175" y="0"/>
            <a:ext cx="4595003" cy="4305300"/>
          </a:xfrm>
          <a:custGeom>
            <a:avLst/>
            <a:gdLst>
              <a:gd name="T0" fmla="*/ 0 w 1450"/>
              <a:gd name="T1" fmla="*/ 0 h 1359"/>
              <a:gd name="T2" fmla="*/ 0 w 1450"/>
              <a:gd name="T3" fmla="*/ 1359 h 1359"/>
              <a:gd name="T4" fmla="*/ 1010 w 1450"/>
              <a:gd name="T5" fmla="*/ 865 h 1359"/>
              <a:gd name="T6" fmla="*/ 1105 w 1450"/>
              <a:gd name="T7" fmla="*/ 754 h 1359"/>
              <a:gd name="T8" fmla="*/ 1450 w 1450"/>
              <a:gd name="T9" fmla="*/ 0 h 1359"/>
              <a:gd name="T10" fmla="*/ 0 w 1450"/>
              <a:gd name="T11" fmla="*/ 0 h 1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0" h="1359">
                <a:moveTo>
                  <a:pt x="0" y="0"/>
                </a:moveTo>
                <a:cubicBezTo>
                  <a:pt x="0" y="1359"/>
                  <a:pt x="0" y="1359"/>
                  <a:pt x="0" y="1359"/>
                </a:cubicBezTo>
                <a:cubicBezTo>
                  <a:pt x="366" y="1339"/>
                  <a:pt x="767" y="1127"/>
                  <a:pt x="1010" y="865"/>
                </a:cubicBezTo>
                <a:cubicBezTo>
                  <a:pt x="1043" y="828"/>
                  <a:pt x="1075" y="791"/>
                  <a:pt x="1105" y="754"/>
                </a:cubicBezTo>
                <a:cubicBezTo>
                  <a:pt x="1287" y="527"/>
                  <a:pt x="1402" y="280"/>
                  <a:pt x="145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33" hasCustomPrompt="1"/>
          </p:nvPr>
        </p:nvSpPr>
        <p:spPr>
          <a:xfrm>
            <a:off x="352425" y="373380"/>
            <a:ext cx="3594100" cy="3528059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ZoneTexte 3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46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Titre court - Text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7464799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e 12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4" name="Connecteur droit 13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080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ous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278380" y="3501008"/>
            <a:ext cx="1466913" cy="1143000"/>
          </a:xfrm>
          <a:solidFill>
            <a:schemeClr val="bg2">
              <a:alpha val="93000"/>
            </a:schemeClr>
          </a:solidFill>
          <a:ln w="6350">
            <a:solidFill>
              <a:schemeClr val="bg2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bIns="0">
            <a:noAutofit/>
          </a:bodyPr>
          <a:lstStyle>
            <a:lvl1pPr algn="ctr">
              <a:defRPr sz="7000" b="0"/>
            </a:lvl1pPr>
          </a:lstStyle>
          <a:p>
            <a:r>
              <a:rPr lang="fr-FR" dirty="0" smtClean="0"/>
              <a:t>N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747470" y="3501008"/>
            <a:ext cx="5396530" cy="11448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bIns="36000" anchor="ctr">
            <a:normAutofit/>
          </a:bodyPr>
          <a:lstStyle>
            <a:lvl1pPr>
              <a:defRPr sz="2200" b="1" cap="none">
                <a:solidFill>
                  <a:schemeClr val="tx2"/>
                </a:solidFill>
              </a:defRPr>
            </a:lvl1pPr>
            <a:lvl2pPr>
              <a:defRPr sz="2200" b="1" cap="none"/>
            </a:lvl2pPr>
            <a:lvl3pPr>
              <a:defRPr sz="2200" b="1" cap="none"/>
            </a:lvl3pPr>
            <a:lvl4pPr>
              <a:defRPr sz="2200" b="1" cap="none"/>
            </a:lvl4pPr>
            <a:lvl5pPr>
              <a:defRPr sz="2200" b="1" cap="none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grpSp>
        <p:nvGrpSpPr>
          <p:cNvPr id="10" name="Group 6"/>
          <p:cNvGrpSpPr>
            <a:grpSpLocks noChangeAspect="1"/>
          </p:cNvGrpSpPr>
          <p:nvPr userDrawn="1"/>
        </p:nvGrpSpPr>
        <p:grpSpPr bwMode="auto">
          <a:xfrm>
            <a:off x="882347" y="561279"/>
            <a:ext cx="1926000" cy="440769"/>
            <a:chOff x="1457" y="1832"/>
            <a:chExt cx="2849" cy="652"/>
          </a:xfrm>
        </p:grpSpPr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8" name="ZoneTexte 17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e 18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0" name="Connecteur droit 1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25" name="Groupe 24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ZoneTexte 29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547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 - Titre moyen - Texte cou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7464799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e 10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4" name="Connecteur droit 13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3" name="Groupe 22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4" name="Connecteur droit 2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ZoneTexte 2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97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 - Titre court - 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251550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688356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6" name="Connecteur droit 18"/>
          <p:cNvCxnSpPr/>
          <p:nvPr userDrawn="1"/>
        </p:nvCxnSpPr>
        <p:spPr>
          <a:xfrm>
            <a:off x="3576760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8"/>
          <p:cNvCxnSpPr/>
          <p:nvPr userDrawn="1"/>
        </p:nvCxnSpPr>
        <p:spPr>
          <a:xfrm>
            <a:off x="6139952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e 18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0" name="Connecteur droit 19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9" name="Groupe 2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0" name="Connecteur droit 2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5972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orient="horz" pos="3611">
          <p15:clr>
            <a:srgbClr val="FBAE40"/>
          </p15:clr>
        </p15:guide>
        <p15:guide id="4294967295" pos="2880">
          <p15:clr>
            <a:srgbClr val="FBAE40"/>
          </p15:clr>
        </p15:guide>
        <p15:guide id="4294967295" orient="horz" pos="179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 - Titre moyen - 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1125164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251550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688357" y="2780928"/>
            <a:ext cx="2340000" cy="2952328"/>
          </a:xfrm>
        </p:spPr>
        <p:txBody>
          <a:bodyPr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3" name="Connecteur droit 18"/>
          <p:cNvCxnSpPr/>
          <p:nvPr userDrawn="1"/>
        </p:nvCxnSpPr>
        <p:spPr>
          <a:xfrm>
            <a:off x="3576760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8"/>
          <p:cNvCxnSpPr/>
          <p:nvPr userDrawn="1"/>
        </p:nvCxnSpPr>
        <p:spPr>
          <a:xfrm>
            <a:off x="6139952" y="2844800"/>
            <a:ext cx="0" cy="28876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7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e 18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0" name="Connecteur droit 19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9" name="Groupe 2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0" name="Connecteur droit 2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30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 - Titre court - Texte 3 colonnes fo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618009" y="2627538"/>
            <a:ext cx="7907982" cy="3062884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878772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6005158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5"/>
          </p:nvPr>
        </p:nvSpPr>
        <p:spPr>
          <a:xfrm>
            <a:off x="3441964" y="2852936"/>
            <a:ext cx="2340000" cy="2636240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cxnSp>
        <p:nvCxnSpPr>
          <p:cNvPr id="17" name="Connecteur droit 18"/>
          <p:cNvCxnSpPr/>
          <p:nvPr userDrawn="1"/>
        </p:nvCxnSpPr>
        <p:spPr>
          <a:xfrm>
            <a:off x="3330368" y="2913063"/>
            <a:ext cx="0" cy="25908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 userDrawn="1"/>
        </p:nvCxnSpPr>
        <p:spPr>
          <a:xfrm>
            <a:off x="5893560" y="2913063"/>
            <a:ext cx="0" cy="25908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oupe 19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1" name="Connecteur droit 20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ZoneTexte 2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5" name="Connecteur droit 2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Image 2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4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5" name="Groupe 34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6" name="Connecteur droit 3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37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ZoneTexte 39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961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orient="horz" pos="1835">
          <p15:clr>
            <a:srgbClr val="FBAE40"/>
          </p15:clr>
        </p15:guide>
        <p15:guide id="4294967295" pos="2880">
          <p15:clr>
            <a:srgbClr val="FBAE40"/>
          </p15:clr>
        </p15:guide>
        <p15:guide id="4294967295" orient="horz" pos="346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 - Titre court - Graphique -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>
          <a:xfrm>
            <a:off x="827584" y="2369700"/>
            <a:ext cx="7472368" cy="285455"/>
          </a:xfrm>
        </p:spPr>
        <p:txBody>
          <a:bodyPr>
            <a:noAutofit/>
          </a:bodyPr>
          <a:lstStyle>
            <a:lvl1pPr>
              <a:defRPr sz="1400" cap="all"/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4"/>
          </p:nvPr>
        </p:nvSpPr>
        <p:spPr>
          <a:xfrm>
            <a:off x="827584" y="2674220"/>
            <a:ext cx="7472368" cy="3501970"/>
          </a:xfrm>
        </p:spPr>
        <p:txBody>
          <a:bodyPr>
            <a:noAutofit/>
          </a:bodyPr>
          <a:lstStyle/>
          <a:p>
            <a:pPr lvl="0"/>
            <a:endParaRPr lang="fr-FR" dirty="0"/>
          </a:p>
        </p:txBody>
      </p:sp>
      <p:sp>
        <p:nvSpPr>
          <p:cNvPr id="14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9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867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 - Titre court - 2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755577" y="2708920"/>
            <a:ext cx="3672408" cy="3241030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/>
        </p:spPr>
        <p:txBody>
          <a:bodyPr vert="horz" lIns="180000" tIns="0" rIns="180000" bIns="0" rtlCol="0" anchor="ctr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fr-FR" sz="2200" b="1" cap="all">
              <a:solidFill>
                <a:schemeClr val="tx2"/>
              </a:solidFill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4" hasCustomPrompt="1"/>
          </p:nvPr>
        </p:nvSpPr>
        <p:spPr>
          <a:xfrm>
            <a:off x="917037" y="2894656"/>
            <a:ext cx="3337035" cy="285822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z="1400" dirty="0" smtClean="0"/>
              <a:t>Titre du graphique sur une ou deux lignes</a:t>
            </a:r>
            <a:endParaRPr lang="fr-F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702136" y="2708920"/>
            <a:ext cx="3672408" cy="3241030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/>
        </p:spPr>
        <p:txBody>
          <a:bodyPr vert="horz" lIns="180000" tIns="0" rIns="180000" bIns="0" rtlCol="0" anchor="ctr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fr-FR" sz="2200" b="1" cap="all">
              <a:solidFill>
                <a:schemeClr val="tx2"/>
              </a:solidFill>
            </a:endParaRPr>
          </a:p>
        </p:txBody>
      </p:sp>
      <p:sp>
        <p:nvSpPr>
          <p:cNvPr id="13" name="Espace réservé du contenu 10"/>
          <p:cNvSpPr>
            <a:spLocks noGrp="1"/>
          </p:cNvSpPr>
          <p:nvPr>
            <p:ph sz="quarter" idx="15" hasCustomPrompt="1"/>
          </p:nvPr>
        </p:nvSpPr>
        <p:spPr>
          <a:xfrm>
            <a:off x="4863596" y="2894656"/>
            <a:ext cx="3337035" cy="285822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sz="1400" dirty="0" smtClean="0"/>
              <a:t>Titre du graphique sur une ou deux lignes</a:t>
            </a:r>
            <a:endParaRPr lang="fr-FR" dirty="0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4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8629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 - Titre court - 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Espace réservé du texte 8"/>
          <p:cNvSpPr>
            <a:spLocks noGrp="1"/>
          </p:cNvSpPr>
          <p:nvPr>
            <p:ph type="body" sz="quarter" idx="26"/>
          </p:nvPr>
        </p:nvSpPr>
        <p:spPr>
          <a:xfrm>
            <a:off x="3059031" y="2960469"/>
            <a:ext cx="3356057" cy="317363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2016000" rIns="144000" bIns="144000">
            <a:noAutofit/>
          </a:bodyPr>
          <a:lstStyle>
            <a:lvl1pPr>
              <a:spcAft>
                <a:spcPts val="0"/>
              </a:spcAft>
              <a:defRPr sz="1980" b="0" cap="none" baseline="0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53" name="Espace réservé du texte 5"/>
          <p:cNvSpPr>
            <a:spLocks noGrp="1"/>
          </p:cNvSpPr>
          <p:nvPr>
            <p:ph type="body" sz="quarter" idx="21"/>
          </p:nvPr>
        </p:nvSpPr>
        <p:spPr>
          <a:xfrm>
            <a:off x="3698438" y="2377548"/>
            <a:ext cx="2097697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  <a:endParaRPr lang="fr-FR"/>
          </a:p>
        </p:txBody>
      </p:sp>
      <p:sp>
        <p:nvSpPr>
          <p:cNvPr id="54" name="Espace réservé du texte 5"/>
          <p:cNvSpPr>
            <a:spLocks noGrp="1"/>
          </p:cNvSpPr>
          <p:nvPr>
            <p:ph type="body" sz="quarter" idx="22"/>
          </p:nvPr>
        </p:nvSpPr>
        <p:spPr>
          <a:xfrm>
            <a:off x="6847120" y="2377548"/>
            <a:ext cx="1392535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886271" y="2377548"/>
            <a:ext cx="1666429" cy="648000"/>
          </a:xfrm>
          <a:solidFill>
            <a:srgbClr val="00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>
            <a:lvl1pPr>
              <a:lnSpc>
                <a:spcPct val="90000"/>
              </a:lnSpc>
              <a:defRPr lang="fr-FR" sz="1400">
                <a:solidFill>
                  <a:schemeClr val="lt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  <a:endParaRPr lang="fr-FR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23"/>
          </p:nvPr>
        </p:nvSpPr>
        <p:spPr>
          <a:xfrm>
            <a:off x="621084" y="2960469"/>
            <a:ext cx="2221379" cy="317363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108000" rIns="144000" bIns="144000">
            <a:noAutofit/>
          </a:bodyPr>
          <a:lstStyle>
            <a:lvl1pPr>
              <a:spcAft>
                <a:spcPts val="0"/>
              </a:spcAft>
              <a:defRPr sz="1000" cap="none" baseline="0">
                <a:solidFill>
                  <a:schemeClr val="tx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56" name="Espace réservé du texte 8"/>
          <p:cNvSpPr>
            <a:spLocks noGrp="1"/>
          </p:cNvSpPr>
          <p:nvPr>
            <p:ph type="body" sz="quarter" idx="25"/>
          </p:nvPr>
        </p:nvSpPr>
        <p:spPr>
          <a:xfrm>
            <a:off x="6594048" y="2960469"/>
            <a:ext cx="1904195" cy="317363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44000" tIns="108000" rIns="144000" bIns="144000">
            <a:noAutofit/>
          </a:bodyPr>
          <a:lstStyle>
            <a:lvl1pPr>
              <a:spcAft>
                <a:spcPts val="0"/>
              </a:spcAft>
              <a:defRPr sz="1000" cap="none" baseline="0">
                <a:solidFill>
                  <a:schemeClr val="tx2"/>
                </a:solidFill>
              </a:defRPr>
            </a:lvl1pPr>
            <a:lvl2pPr>
              <a:spcAft>
                <a:spcPts val="0"/>
              </a:spcAft>
              <a:defRPr sz="10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59" name="Espace réservé du texte 8"/>
          <p:cNvSpPr>
            <a:spLocks noGrp="1"/>
          </p:cNvSpPr>
          <p:nvPr>
            <p:ph type="body" sz="quarter" idx="27"/>
          </p:nvPr>
        </p:nvSpPr>
        <p:spPr>
          <a:xfrm>
            <a:off x="5065134" y="2960469"/>
            <a:ext cx="1349954" cy="1936800"/>
          </a:xfrm>
          <a:solidFill>
            <a:schemeClr val="bg2"/>
          </a:solidFill>
          <a:ln w="6350">
            <a:noFill/>
          </a:ln>
          <a:effectLst/>
        </p:spPr>
        <p:txBody>
          <a:bodyPr lIns="144000" tIns="36000" rIns="144000" bIns="144000">
            <a:noAutofit/>
          </a:bodyPr>
          <a:lstStyle>
            <a:lvl1pPr>
              <a:spcBef>
                <a:spcPts val="300"/>
              </a:spcBef>
              <a:spcAft>
                <a:spcPts val="0"/>
              </a:spcAft>
              <a:defRPr sz="2000" cap="none" baseline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smtClean="0"/>
              <a:t>Modifiez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57" name="Espace réservé pour une image  54"/>
          <p:cNvSpPr>
            <a:spLocks noGrp="1"/>
          </p:cNvSpPr>
          <p:nvPr>
            <p:ph type="pic" sz="quarter" idx="24"/>
          </p:nvPr>
        </p:nvSpPr>
        <p:spPr>
          <a:xfrm>
            <a:off x="3103154" y="3009577"/>
            <a:ext cx="1913345" cy="1835267"/>
          </a:xfrm>
          <a:solidFill>
            <a:schemeClr val="bg1">
              <a:alpha val="90000"/>
            </a:schemeClr>
          </a:solidFill>
          <a:ln w="101600">
            <a:solidFill>
              <a:schemeClr val="bg1"/>
            </a:solidFill>
            <a:miter lim="800000"/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fr-FR">
                <a:solidFill>
                  <a:schemeClr val="bg1"/>
                </a:solidFill>
              </a:defRPr>
            </a:lvl1pPr>
          </a:lstStyle>
          <a:p>
            <a:pPr lvl="0" algn="ctr"/>
            <a:endParaRPr lang="fr-FR"/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28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7755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/>
          <p:cNvSpPr>
            <a:spLocks noGrp="1"/>
          </p:cNvSpPr>
          <p:nvPr>
            <p:ph type="body" sz="quarter" idx="18"/>
          </p:nvPr>
        </p:nvSpPr>
        <p:spPr>
          <a:xfrm>
            <a:off x="4458417" y="2084851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0" name="Espace réservé du texte 17"/>
          <p:cNvSpPr>
            <a:spLocks noGrp="1"/>
          </p:cNvSpPr>
          <p:nvPr>
            <p:ph type="body" sz="quarter" idx="26"/>
          </p:nvPr>
        </p:nvSpPr>
        <p:spPr>
          <a:xfrm>
            <a:off x="4458417" y="3404998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7" name="Espace réservé du texte 17"/>
          <p:cNvSpPr>
            <a:spLocks noGrp="1"/>
          </p:cNvSpPr>
          <p:nvPr>
            <p:ph type="body" sz="quarter" idx="29"/>
          </p:nvPr>
        </p:nvSpPr>
        <p:spPr>
          <a:xfrm>
            <a:off x="4458417" y="4725144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24"/>
          </p:nvPr>
        </p:nvSpPr>
        <p:spPr>
          <a:xfrm>
            <a:off x="6732241" y="2084851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6849542" y="2084454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1" name="Espace réservé du texte 17"/>
          <p:cNvSpPr>
            <a:spLocks noGrp="1"/>
          </p:cNvSpPr>
          <p:nvPr>
            <p:ph type="body" sz="quarter" idx="27"/>
          </p:nvPr>
        </p:nvSpPr>
        <p:spPr>
          <a:xfrm>
            <a:off x="6732241" y="3404998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6849542" y="3404601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8" name="Espace réservé du texte 17"/>
          <p:cNvSpPr>
            <a:spLocks noGrp="1"/>
          </p:cNvSpPr>
          <p:nvPr>
            <p:ph type="body" sz="quarter" idx="30"/>
          </p:nvPr>
        </p:nvSpPr>
        <p:spPr>
          <a:xfrm>
            <a:off x="6732241" y="4725144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9" name="Espace réservé du texte 9"/>
          <p:cNvSpPr>
            <a:spLocks noGrp="1"/>
          </p:cNvSpPr>
          <p:nvPr>
            <p:ph type="body" sz="quarter" idx="31" hasCustomPrompt="1"/>
          </p:nvPr>
        </p:nvSpPr>
        <p:spPr>
          <a:xfrm>
            <a:off x="6849542" y="4724747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30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-32372" y="3559365"/>
            <a:ext cx="2800972" cy="2317907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60000" rIns="180000" anchor="ctr" anchorCtr="0">
            <a:noAutofit/>
          </a:bodyPr>
          <a:lstStyle>
            <a:lvl1pPr>
              <a:spcAft>
                <a:spcPts val="0"/>
              </a:spcAft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e 2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Image 3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40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41" name="Groupe 4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42" name="Connecteur droit 4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ZoneTexte 4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27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pos="174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/>
          <p:cNvSpPr>
            <a:spLocks noGrp="1"/>
          </p:cNvSpPr>
          <p:nvPr>
            <p:ph type="body" sz="quarter" idx="18"/>
          </p:nvPr>
        </p:nvSpPr>
        <p:spPr>
          <a:xfrm>
            <a:off x="4458417" y="2084851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0" name="Espace réservé du texte 17"/>
          <p:cNvSpPr>
            <a:spLocks noGrp="1"/>
          </p:cNvSpPr>
          <p:nvPr>
            <p:ph type="body" sz="quarter" idx="26"/>
          </p:nvPr>
        </p:nvSpPr>
        <p:spPr>
          <a:xfrm>
            <a:off x="4458417" y="3404998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7" name="Espace réservé du texte 17"/>
          <p:cNvSpPr>
            <a:spLocks noGrp="1"/>
          </p:cNvSpPr>
          <p:nvPr>
            <p:ph type="body" sz="quarter" idx="29"/>
          </p:nvPr>
        </p:nvSpPr>
        <p:spPr>
          <a:xfrm>
            <a:off x="4458417" y="4725144"/>
            <a:ext cx="2289600" cy="1152128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900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200" cap="none">
                <a:solidFill>
                  <a:schemeClr val="bg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24"/>
          </p:nvPr>
        </p:nvSpPr>
        <p:spPr>
          <a:xfrm>
            <a:off x="6732241" y="2084851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6849542" y="2084454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1" name="Espace réservé du texte 17"/>
          <p:cNvSpPr>
            <a:spLocks noGrp="1"/>
          </p:cNvSpPr>
          <p:nvPr>
            <p:ph type="body" sz="quarter" idx="27"/>
          </p:nvPr>
        </p:nvSpPr>
        <p:spPr>
          <a:xfrm>
            <a:off x="6732241" y="3404998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6849542" y="3404601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28" name="Espace réservé du texte 17"/>
          <p:cNvSpPr>
            <a:spLocks noGrp="1"/>
          </p:cNvSpPr>
          <p:nvPr>
            <p:ph type="body" sz="quarter" idx="30"/>
          </p:nvPr>
        </p:nvSpPr>
        <p:spPr>
          <a:xfrm>
            <a:off x="6732241" y="4725144"/>
            <a:ext cx="2411760" cy="1152128"/>
          </a:xfrm>
          <a:solidFill>
            <a:schemeClr val="bg2">
              <a:alpha val="92000"/>
            </a:schemeClr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864000" rIns="18000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300" cap="none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dirty="0" smtClean="0"/>
              <a:t>Cliquez pour modifier</a:t>
            </a:r>
          </a:p>
        </p:txBody>
      </p:sp>
      <p:sp>
        <p:nvSpPr>
          <p:cNvPr id="29" name="Espace réservé du texte 9"/>
          <p:cNvSpPr>
            <a:spLocks noGrp="1"/>
          </p:cNvSpPr>
          <p:nvPr>
            <p:ph type="body" sz="quarter" idx="31" hasCustomPrompt="1"/>
          </p:nvPr>
        </p:nvSpPr>
        <p:spPr>
          <a:xfrm>
            <a:off x="6849542" y="4724747"/>
            <a:ext cx="617639" cy="1152525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anchor="ctr" anchorCtr="0">
            <a:noAutofit/>
          </a:bodyPr>
          <a:lstStyle>
            <a:lvl1pPr algn="r">
              <a:defRPr sz="2300">
                <a:solidFill>
                  <a:srgbClr val="FFFFFF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fr-FR" dirty="0" smtClean="0"/>
              <a:t>N</a:t>
            </a:r>
            <a:endParaRPr lang="fr-FR" dirty="0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435600" y="620688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8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e 2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6" name="Connecteur droit 2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Image 3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33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-32372" y="3559365"/>
            <a:ext cx="2800972" cy="2317907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60000" rIns="180000" anchor="ctr" anchorCtr="0">
            <a:noAutofit/>
          </a:bodyPr>
          <a:lstStyle>
            <a:lvl1pPr>
              <a:spcAft>
                <a:spcPts val="0"/>
              </a:spcAft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30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41" name="Groupe 40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42" name="Connecteur droit 41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43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ZoneTexte 4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99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1302990" y="3648534"/>
            <a:ext cx="4921974" cy="213904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33"/>
          </p:nvPr>
        </p:nvSpPr>
        <p:spPr>
          <a:xfrm>
            <a:off x="7605976" y="764705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31" name="Espace réservé pour une image  7"/>
          <p:cNvSpPr>
            <a:spLocks noGrp="1"/>
          </p:cNvSpPr>
          <p:nvPr>
            <p:ph type="pic" sz="quarter" idx="34"/>
          </p:nvPr>
        </p:nvSpPr>
        <p:spPr>
          <a:xfrm>
            <a:off x="7605976" y="4725144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 dirty="0"/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35"/>
          </p:nvPr>
        </p:nvSpPr>
        <p:spPr>
          <a:xfrm>
            <a:off x="7605976" y="2084851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6"/>
          </p:nvPr>
        </p:nvSpPr>
        <p:spPr>
          <a:xfrm>
            <a:off x="7605976" y="3404997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5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6" name="Groupe 25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7" name="Connecteur droit 26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38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3048000" y="2467928"/>
            <a:ext cx="5686425" cy="3606710"/>
          </a:xfrm>
          <a:noFill/>
          <a:effectLst/>
        </p:spPr>
        <p:txBody>
          <a:bodyPr wrap="square" lIns="0" tIns="0" rIns="0" bIns="0" anchor="t" anchorCtr="0"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tabLst>
                <a:tab pos="5508000" algn="r"/>
              </a:tabLst>
              <a:defRPr sz="2000">
                <a:solidFill>
                  <a:schemeClr val="tx2"/>
                </a:solidFill>
              </a:defRPr>
            </a:lvl1pPr>
            <a:lvl2pPr>
              <a:spcAft>
                <a:spcPts val="200"/>
              </a:spcAft>
              <a:defRPr b="0"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Second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1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2401514" y="2394518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3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401514" y="3056334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4" name="Espace réservé du texte 8"/>
          <p:cNvSpPr>
            <a:spLocks noGrp="1"/>
          </p:cNvSpPr>
          <p:nvPr>
            <p:ph type="body" sz="quarter" idx="37" hasCustomPrompt="1"/>
          </p:nvPr>
        </p:nvSpPr>
        <p:spPr>
          <a:xfrm>
            <a:off x="2401514" y="3718150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6" name="Espace réservé du texte 8"/>
          <p:cNvSpPr>
            <a:spLocks noGrp="1"/>
          </p:cNvSpPr>
          <p:nvPr>
            <p:ph type="body" sz="quarter" idx="38" hasCustomPrompt="1"/>
          </p:nvPr>
        </p:nvSpPr>
        <p:spPr>
          <a:xfrm>
            <a:off x="2401514" y="4379966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7" name="Espace réservé du texte 8"/>
          <p:cNvSpPr>
            <a:spLocks noGrp="1"/>
          </p:cNvSpPr>
          <p:nvPr>
            <p:ph type="body" sz="quarter" idx="39" hasCustomPrompt="1"/>
          </p:nvPr>
        </p:nvSpPr>
        <p:spPr>
          <a:xfrm>
            <a:off x="2401514" y="5041782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  <p:sp>
        <p:nvSpPr>
          <p:cNvPr id="38" name="Espace réservé du texte 8"/>
          <p:cNvSpPr>
            <a:spLocks noGrp="1"/>
          </p:cNvSpPr>
          <p:nvPr>
            <p:ph type="body" sz="quarter" idx="40" hasCustomPrompt="1"/>
          </p:nvPr>
        </p:nvSpPr>
        <p:spPr>
          <a:xfrm>
            <a:off x="2401514" y="5703599"/>
            <a:ext cx="432000" cy="432000"/>
          </a:xfrm>
          <a:solidFill>
            <a:schemeClr val="bg2"/>
          </a:solidFill>
          <a:effectLst/>
        </p:spPr>
        <p:txBody>
          <a:bodyPr wrap="square" lIns="144000" tIns="144000" rIns="144000" bIns="144000" anchor="ctr" anchorCtr="0">
            <a:noAutofit/>
          </a:bodyPr>
          <a:lstStyle>
            <a:lvl1pPr algn="ctr">
              <a:tabLst>
                <a:tab pos="6819900" algn="r"/>
              </a:tabLst>
              <a:defRPr sz="2000" b="1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tx2"/>
                </a:solidFill>
                <a:effectLst/>
              </a:defRPr>
            </a:lvl5pPr>
          </a:lstStyle>
          <a:p>
            <a:pPr lvl="0"/>
            <a:r>
              <a:rPr lang="fr-FR" smtClean="0"/>
              <a:t>N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4544241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80">
          <p15:clr>
            <a:srgbClr val="FBAE40"/>
          </p15:clr>
        </p15:guide>
        <p15:guide id="0" pos="5502" userDrawn="1">
          <p15:clr>
            <a:srgbClr val="FBAE40"/>
          </p15:clr>
        </p15:guide>
        <p15:guide id="4" orient="horz" pos="1593" userDrawn="1">
          <p15:clr>
            <a:srgbClr val="FBAE40"/>
          </p15:clr>
        </p15:guide>
        <p15:guide id="8" pos="1110" userDrawn="1">
          <p15:clr>
            <a:srgbClr val="FBAE40"/>
          </p15:clr>
        </p15:guide>
        <p15:guide id="9" pos="72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1302990" y="3648534"/>
            <a:ext cx="4921974" cy="2139041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vert="horz" lIns="288000" tIns="0" rIns="288000" bIns="0" rtlCol="0" anchor="ctr" anchorCtr="0">
            <a:noAutofit/>
          </a:bodyPr>
          <a:lstStyle>
            <a:lvl1pPr>
              <a:defRPr lang="fr-FR" sz="2200" b="0" dirty="0" smtClean="0">
                <a:solidFill>
                  <a:srgbClr val="00519E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33"/>
          </p:nvPr>
        </p:nvSpPr>
        <p:spPr>
          <a:xfrm>
            <a:off x="7605976" y="764705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31" name="Espace réservé pour une image  7"/>
          <p:cNvSpPr>
            <a:spLocks noGrp="1"/>
          </p:cNvSpPr>
          <p:nvPr>
            <p:ph type="pic" sz="quarter" idx="34"/>
          </p:nvPr>
        </p:nvSpPr>
        <p:spPr>
          <a:xfrm>
            <a:off x="7605976" y="4725144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 dirty="0"/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35"/>
          </p:nvPr>
        </p:nvSpPr>
        <p:spPr>
          <a:xfrm>
            <a:off x="7605976" y="2084851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6"/>
          </p:nvPr>
        </p:nvSpPr>
        <p:spPr>
          <a:xfrm>
            <a:off x="7605976" y="3404997"/>
            <a:ext cx="1538024" cy="1152128"/>
          </a:xfrm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/>
          <a:p>
            <a:endParaRPr lang="fr-FR"/>
          </a:p>
        </p:txBody>
      </p:sp>
      <p:sp>
        <p:nvSpPr>
          <p:cNvPr id="12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6" name="Connecteur droit 15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5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6" name="Groupe 25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7" name="Connecteur droit 26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59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5292081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26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1461334" y="2389789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898578" y="2727544"/>
            <a:ext cx="7345856" cy="3365371"/>
          </a:xfrm>
          <a:solidFill>
            <a:srgbClr val="00519E"/>
          </a:solidFill>
          <a:ln w="6350">
            <a:solidFill>
              <a:srgbClr val="00519E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852000" rIns="288000" anchor="ctr" anchorCtr="0">
            <a:noAutofit/>
          </a:bodyPr>
          <a:lstStyle>
            <a:lvl1pPr>
              <a:spcAft>
                <a:spcPts val="1200"/>
              </a:spcAft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roisième niv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257380" y="493160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898578" y="2727544"/>
            <a:ext cx="3482922" cy="3365371"/>
          </a:xfrm>
          <a:prstGeom prst="homePlate">
            <a:avLst>
              <a:gd name="adj" fmla="val 14904"/>
            </a:avLst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 marL="133200" indent="-1332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4" name="ZoneTexte 13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e 16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18" name="Connecteur droit 17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0" name="Groupe 29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1" name="Connecteur droit 30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ZoneTexte 35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412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790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8"/>
          <p:cNvSpPr>
            <a:spLocks noGrp="1"/>
          </p:cNvSpPr>
          <p:nvPr>
            <p:ph type="body" sz="quarter" idx="35" hasCustomPrompt="1"/>
          </p:nvPr>
        </p:nvSpPr>
        <p:spPr>
          <a:xfrm>
            <a:off x="6263391" y="2397847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36" hasCustomPrompt="1"/>
          </p:nvPr>
        </p:nvSpPr>
        <p:spPr>
          <a:xfrm>
            <a:off x="2432644" y="2397847"/>
            <a:ext cx="1835052" cy="337310"/>
          </a:xfrm>
          <a:solidFill>
            <a:schemeClr val="bg2"/>
          </a:solidFill>
          <a:effectLst/>
        </p:spPr>
        <p:txBody>
          <a:bodyPr lIns="0" rIns="0"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 algn="ctr"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35" name="Espace réservé du texte 7"/>
          <p:cNvSpPr>
            <a:spLocks noGrp="1"/>
          </p:cNvSpPr>
          <p:nvPr>
            <p:ph type="body" sz="quarter" idx="32"/>
          </p:nvPr>
        </p:nvSpPr>
        <p:spPr>
          <a:xfrm>
            <a:off x="5257380" y="493160"/>
            <a:ext cx="3155950" cy="108108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200" b="0">
                <a:solidFill>
                  <a:srgbClr val="00519E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34" hasCustomPrompt="1"/>
          </p:nvPr>
        </p:nvSpPr>
        <p:spPr>
          <a:xfrm>
            <a:off x="1885950" y="2727544"/>
            <a:ext cx="7258049" cy="3365371"/>
          </a:xfrm>
          <a:solidFill>
            <a:schemeClr val="tx2"/>
          </a:solidFill>
          <a:ln w="6350">
            <a:solidFill>
              <a:srgbClr val="00519E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3852000" rIns="288000" anchor="ctr" anchorCtr="0">
            <a:noAutofit/>
          </a:bodyPr>
          <a:lstStyle>
            <a:lvl1pPr>
              <a:spcAft>
                <a:spcPts val="1200"/>
              </a:spcAft>
              <a:defRPr sz="1400"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3pPr>
            <a:lvl4pPr>
              <a:defRPr>
                <a:solidFill>
                  <a:schemeClr val="bg1"/>
                </a:solidFill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4pPr>
            <a:lvl5pPr>
              <a:spcBef>
                <a:spcPts val="160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effectLst/>
              </a:defRPr>
            </a:lvl5pPr>
          </a:lstStyle>
          <a:p>
            <a:pPr lvl="0"/>
            <a:r>
              <a:rPr lang="fr-FR" dirty="0" smtClean="0"/>
              <a:t>Troisième niveau</a:t>
            </a: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33" hasCustomPrompt="1"/>
          </p:nvPr>
        </p:nvSpPr>
        <p:spPr>
          <a:xfrm>
            <a:off x="1869888" y="2727544"/>
            <a:ext cx="3387492" cy="3365371"/>
          </a:xfrm>
          <a:prstGeom prst="homePlate">
            <a:avLst>
              <a:gd name="adj" fmla="val 16885"/>
            </a:avLst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288000" rIns="288000" anchor="ctr" anchorCtr="0">
            <a:noAutofit/>
          </a:bodyPr>
          <a:lstStyle>
            <a:lvl1pPr marL="133200" indent="-1332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>
                  <a:outerShdw blurRad="88900" dir="2700000" algn="tl" rotWithShape="0">
                    <a:srgbClr val="000000">
                      <a:alpha val="50000"/>
                    </a:srgbClr>
                  </a:outerShdw>
                </a:effectLst>
              </a:defRPr>
            </a:lvl5pPr>
          </a:lstStyle>
          <a:p>
            <a:pPr lvl="0"/>
            <a:r>
              <a:rPr lang="fr-FR" dirty="0" smtClean="0"/>
              <a:t>Premier niveau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0" y="2725163"/>
            <a:ext cx="1872585" cy="3372311"/>
          </a:xfrm>
          <a:solidFill>
            <a:schemeClr val="bg1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9" name="ZoneTexte 18"/>
          <p:cNvSpPr txBox="1"/>
          <p:nvPr userDrawn="1"/>
        </p:nvSpPr>
        <p:spPr>
          <a:xfrm>
            <a:off x="-3200672" y="2620283"/>
            <a:ext cx="295232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vos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x de texte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issez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tre texte dans la zone d’insertion de texte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suivant, 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’onglet « Accueil », groupe « Paragraphe », cliquez sur « Augmenter le niveau de liste »</a:t>
            </a:r>
            <a:b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asser votre texte au niveau précédent, dans l’onglet « Accueil », groupe « Paragraphe », cliquez sur « Réduire le niveau de liste »</a:t>
            </a:r>
          </a:p>
        </p:txBody>
      </p:sp>
      <p:pic>
        <p:nvPicPr>
          <p:cNvPr id="20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3412346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8384" y="4004057"/>
            <a:ext cx="228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Groupe 21"/>
          <p:cNvGrpSpPr/>
          <p:nvPr userDrawn="1"/>
        </p:nvGrpSpPr>
        <p:grpSpPr>
          <a:xfrm>
            <a:off x="-252536" y="2667486"/>
            <a:ext cx="144016" cy="1440160"/>
            <a:chOff x="-252536" y="0"/>
            <a:chExt cx="144016" cy="1440160"/>
          </a:xfrm>
        </p:grpSpPr>
        <p:cxnSp>
          <p:nvCxnSpPr>
            <p:cNvPr id="23" name="Connecteur droit 22"/>
            <p:cNvCxnSpPr/>
            <p:nvPr userDrawn="1"/>
          </p:nvCxnSpPr>
          <p:spPr>
            <a:xfrm>
              <a:off x="-252536" y="0"/>
              <a:ext cx="0" cy="144016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32" name="Groupe 31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3" name="Connecteur droit 32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eur droit 3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ZoneTexte 37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368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me libre 15"/>
          <p:cNvSpPr/>
          <p:nvPr userDrawn="1"/>
        </p:nvSpPr>
        <p:spPr>
          <a:xfrm>
            <a:off x="-6350" y="3120405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5875">
            <a:solidFill>
              <a:schemeClr val="bg1">
                <a:lumMod val="75000"/>
              </a:schemeClr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2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1287838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1" name="Espace réservé pour une image  9"/>
          <p:cNvSpPr>
            <a:spLocks noGrp="1"/>
          </p:cNvSpPr>
          <p:nvPr>
            <p:ph type="pic" sz="quarter" idx="38"/>
          </p:nvPr>
        </p:nvSpPr>
        <p:spPr>
          <a:xfrm>
            <a:off x="3781221" y="2275204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22" name="Espace réservé pour une image  9"/>
          <p:cNvSpPr>
            <a:spLocks noGrp="1"/>
          </p:cNvSpPr>
          <p:nvPr>
            <p:ph type="pic" sz="quarter" idx="39"/>
          </p:nvPr>
        </p:nvSpPr>
        <p:spPr>
          <a:xfrm>
            <a:off x="6274605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40" hasCustomPrompt="1"/>
          </p:nvPr>
        </p:nvSpPr>
        <p:spPr>
          <a:xfrm>
            <a:off x="1372235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3" name="Espace réservé du texte 6"/>
          <p:cNvSpPr>
            <a:spLocks noGrp="1"/>
          </p:cNvSpPr>
          <p:nvPr>
            <p:ph type="body" sz="quarter" idx="41" hasCustomPrompt="1"/>
          </p:nvPr>
        </p:nvSpPr>
        <p:spPr>
          <a:xfrm>
            <a:off x="3640981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4" name="Espace réservé du texte 6"/>
          <p:cNvSpPr>
            <a:spLocks noGrp="1"/>
          </p:cNvSpPr>
          <p:nvPr>
            <p:ph type="body" sz="quarter" idx="42" hasCustomPrompt="1"/>
          </p:nvPr>
        </p:nvSpPr>
        <p:spPr>
          <a:xfrm>
            <a:off x="6058945" y="4631299"/>
            <a:ext cx="1879282" cy="1219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14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2023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orient="horz" pos="2160">
          <p15:clr>
            <a:srgbClr val="FBAE40"/>
          </p15:clr>
        </p15:guide>
        <p15:guide id="4294967295" pos="288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me libre 15"/>
          <p:cNvSpPr/>
          <p:nvPr userDrawn="1"/>
        </p:nvSpPr>
        <p:spPr>
          <a:xfrm>
            <a:off x="-6350" y="3120405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5875">
            <a:solidFill>
              <a:schemeClr val="bg1">
                <a:lumMod val="75000"/>
              </a:schemeClr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20" name="Espace réservé pour une image  9"/>
          <p:cNvSpPr>
            <a:spLocks noGrp="1"/>
          </p:cNvSpPr>
          <p:nvPr>
            <p:ph type="pic" sz="quarter" idx="37"/>
          </p:nvPr>
        </p:nvSpPr>
        <p:spPr>
          <a:xfrm>
            <a:off x="1287838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21" name="Espace réservé pour une image  9"/>
          <p:cNvSpPr>
            <a:spLocks noGrp="1"/>
          </p:cNvSpPr>
          <p:nvPr>
            <p:ph type="pic" sz="quarter" idx="38"/>
          </p:nvPr>
        </p:nvSpPr>
        <p:spPr>
          <a:xfrm>
            <a:off x="3781221" y="2275204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22" name="Espace réservé pour une image  9"/>
          <p:cNvSpPr>
            <a:spLocks noGrp="1"/>
          </p:cNvSpPr>
          <p:nvPr>
            <p:ph type="pic" sz="quarter" idx="39"/>
          </p:nvPr>
        </p:nvSpPr>
        <p:spPr>
          <a:xfrm>
            <a:off x="6274605" y="2866667"/>
            <a:ext cx="1607820" cy="1607820"/>
          </a:xfrm>
          <a:custGeom>
            <a:avLst/>
            <a:gdLst/>
            <a:ahLst/>
            <a:cxnLst/>
            <a:rect l="l" t="t" r="r" b="b"/>
            <a:pathLst>
              <a:path w="1607820" h="1607820">
                <a:moveTo>
                  <a:pt x="803910" y="0"/>
                </a:moveTo>
                <a:cubicBezTo>
                  <a:pt x="1247897" y="0"/>
                  <a:pt x="1607820" y="359923"/>
                  <a:pt x="1607820" y="803910"/>
                </a:cubicBezTo>
                <a:cubicBezTo>
                  <a:pt x="1607820" y="1247897"/>
                  <a:pt x="1247897" y="1607820"/>
                  <a:pt x="803910" y="1607820"/>
                </a:cubicBezTo>
                <a:cubicBezTo>
                  <a:pt x="359923" y="1607820"/>
                  <a:pt x="0" y="1247897"/>
                  <a:pt x="0" y="803910"/>
                </a:cubicBezTo>
                <a:cubicBezTo>
                  <a:pt x="0" y="359923"/>
                  <a:pt x="359923" y="0"/>
                  <a:pt x="803910" y="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>
            <a:noAutofit/>
          </a:bodyPr>
          <a:lstStyle>
            <a:lvl1pPr>
              <a:defRPr>
                <a:effectLst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40" hasCustomPrompt="1"/>
          </p:nvPr>
        </p:nvSpPr>
        <p:spPr>
          <a:xfrm>
            <a:off x="1372235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3" name="Espace réservé du texte 6"/>
          <p:cNvSpPr>
            <a:spLocks noGrp="1"/>
          </p:cNvSpPr>
          <p:nvPr>
            <p:ph type="body" sz="quarter" idx="41" hasCustomPrompt="1"/>
          </p:nvPr>
        </p:nvSpPr>
        <p:spPr>
          <a:xfrm>
            <a:off x="3640981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24" name="Espace réservé du texte 6"/>
          <p:cNvSpPr>
            <a:spLocks noGrp="1"/>
          </p:cNvSpPr>
          <p:nvPr>
            <p:ph type="body" sz="quarter" idx="42" hasCustomPrompt="1"/>
          </p:nvPr>
        </p:nvSpPr>
        <p:spPr>
          <a:xfrm>
            <a:off x="6058945" y="4631299"/>
            <a:ext cx="1879282" cy="12192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500"/>
            </a:lvl1pPr>
            <a:lvl2pPr>
              <a:lnSpc>
                <a:spcPct val="85000"/>
              </a:lnSpc>
              <a:spcAft>
                <a:spcPts val="0"/>
              </a:spcAft>
              <a:defRPr sz="1400" b="1"/>
            </a:lvl2pPr>
            <a:lvl3pPr marL="0" indent="0">
              <a:spcAft>
                <a:spcPts val="0"/>
              </a:spcAft>
              <a:buNone/>
              <a:defRPr sz="1600" b="1"/>
            </a:lvl3pPr>
            <a:lvl4pPr>
              <a:lnSpc>
                <a:spcPct val="90000"/>
              </a:lnSpc>
              <a:spcAft>
                <a:spcPts val="0"/>
              </a:spcAft>
              <a:defRPr/>
            </a:lvl4pPr>
          </a:lstStyle>
          <a:p>
            <a:pPr lvl="0"/>
            <a:r>
              <a:rPr lang="fr-FR" dirty="0" smtClean="0"/>
              <a:t>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7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05063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4294967295" orient="horz" pos="2160">
          <p15:clr>
            <a:srgbClr val="FBAE40"/>
          </p15:clr>
        </p15:guide>
        <p15:guide id="4294967295" pos="28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22" name="Forme libre 21"/>
          <p:cNvSpPr/>
          <p:nvPr userDrawn="1"/>
        </p:nvSpPr>
        <p:spPr>
          <a:xfrm>
            <a:off x="-6350" y="4149089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40" hasCustomPrompt="1"/>
          </p:nvPr>
        </p:nvSpPr>
        <p:spPr>
          <a:xfrm>
            <a:off x="1147763" y="360997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41" hasCustomPrompt="1"/>
          </p:nvPr>
        </p:nvSpPr>
        <p:spPr>
          <a:xfrm>
            <a:off x="3578120" y="316383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42" hasCustomPrompt="1"/>
          </p:nvPr>
        </p:nvSpPr>
        <p:spPr>
          <a:xfrm>
            <a:off x="5941757" y="3560650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e 11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4" name="Connecteur droit 13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9" name="Groupe 2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0" name="Connecteur droit 2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123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22" name="Forme libre 21"/>
          <p:cNvSpPr/>
          <p:nvPr userDrawn="1"/>
        </p:nvSpPr>
        <p:spPr>
          <a:xfrm>
            <a:off x="-6350" y="4149089"/>
            <a:ext cx="9156700" cy="2007855"/>
          </a:xfrm>
          <a:custGeom>
            <a:avLst/>
            <a:gdLst>
              <a:gd name="connsiteX0" fmla="*/ 4578350 w 9156700"/>
              <a:gd name="connsiteY0" fmla="*/ 0 h 2451152"/>
              <a:gd name="connsiteX1" fmla="*/ 9023299 w 9156700"/>
              <a:gd name="connsiteY1" fmla="*/ 1853272 h 2451152"/>
              <a:gd name="connsiteX2" fmla="*/ 9156700 w 9156700"/>
              <a:gd name="connsiteY2" fmla="*/ 2007855 h 2451152"/>
              <a:gd name="connsiteX3" fmla="*/ 9156700 w 9156700"/>
              <a:gd name="connsiteY3" fmla="*/ 2451152 h 2451152"/>
              <a:gd name="connsiteX4" fmla="*/ 0 w 9156700"/>
              <a:gd name="connsiteY4" fmla="*/ 2451152 h 2451152"/>
              <a:gd name="connsiteX5" fmla="*/ 0 w 9156700"/>
              <a:gd name="connsiteY5" fmla="*/ 2007855 h 2451152"/>
              <a:gd name="connsiteX6" fmla="*/ 133401 w 9156700"/>
              <a:gd name="connsiteY6" fmla="*/ 1853272 h 2451152"/>
              <a:gd name="connsiteX7" fmla="*/ 4578350 w 9156700"/>
              <a:gd name="connsiteY7" fmla="*/ 0 h 2451152"/>
              <a:gd name="connsiteX0" fmla="*/ 0 w 9156700"/>
              <a:gd name="connsiteY0" fmla="*/ 2451152 h 2542592"/>
              <a:gd name="connsiteX1" fmla="*/ 0 w 9156700"/>
              <a:gd name="connsiteY1" fmla="*/ 2007855 h 2542592"/>
              <a:gd name="connsiteX2" fmla="*/ 133401 w 9156700"/>
              <a:gd name="connsiteY2" fmla="*/ 1853272 h 2542592"/>
              <a:gd name="connsiteX3" fmla="*/ 4578350 w 9156700"/>
              <a:gd name="connsiteY3" fmla="*/ 0 h 2542592"/>
              <a:gd name="connsiteX4" fmla="*/ 9023299 w 9156700"/>
              <a:gd name="connsiteY4" fmla="*/ 1853272 h 2542592"/>
              <a:gd name="connsiteX5" fmla="*/ 9156700 w 9156700"/>
              <a:gd name="connsiteY5" fmla="*/ 2007855 h 2542592"/>
              <a:gd name="connsiteX6" fmla="*/ 9156700 w 9156700"/>
              <a:gd name="connsiteY6" fmla="*/ 2451152 h 2542592"/>
              <a:gd name="connsiteX7" fmla="*/ 91440 w 9156700"/>
              <a:gd name="connsiteY7" fmla="*/ 2542592 h 2542592"/>
              <a:gd name="connsiteX0" fmla="*/ 0 w 9156700"/>
              <a:gd name="connsiteY0" fmla="*/ 2451152 h 2451152"/>
              <a:gd name="connsiteX1" fmla="*/ 0 w 9156700"/>
              <a:gd name="connsiteY1" fmla="*/ 2007855 h 2451152"/>
              <a:gd name="connsiteX2" fmla="*/ 133401 w 9156700"/>
              <a:gd name="connsiteY2" fmla="*/ 1853272 h 2451152"/>
              <a:gd name="connsiteX3" fmla="*/ 4578350 w 9156700"/>
              <a:gd name="connsiteY3" fmla="*/ 0 h 2451152"/>
              <a:gd name="connsiteX4" fmla="*/ 9023299 w 9156700"/>
              <a:gd name="connsiteY4" fmla="*/ 1853272 h 2451152"/>
              <a:gd name="connsiteX5" fmla="*/ 9156700 w 9156700"/>
              <a:gd name="connsiteY5" fmla="*/ 2007855 h 2451152"/>
              <a:gd name="connsiteX6" fmla="*/ 9156700 w 9156700"/>
              <a:gd name="connsiteY6" fmla="*/ 2451152 h 2451152"/>
              <a:gd name="connsiteX0" fmla="*/ 0 w 9156700"/>
              <a:gd name="connsiteY0" fmla="*/ 2007855 h 2451152"/>
              <a:gd name="connsiteX1" fmla="*/ 133401 w 9156700"/>
              <a:gd name="connsiteY1" fmla="*/ 1853272 h 2451152"/>
              <a:gd name="connsiteX2" fmla="*/ 4578350 w 9156700"/>
              <a:gd name="connsiteY2" fmla="*/ 0 h 2451152"/>
              <a:gd name="connsiteX3" fmla="*/ 9023299 w 9156700"/>
              <a:gd name="connsiteY3" fmla="*/ 1853272 h 2451152"/>
              <a:gd name="connsiteX4" fmla="*/ 9156700 w 9156700"/>
              <a:gd name="connsiteY4" fmla="*/ 2007855 h 2451152"/>
              <a:gd name="connsiteX5" fmla="*/ 9156700 w 9156700"/>
              <a:gd name="connsiteY5" fmla="*/ 2451152 h 2451152"/>
              <a:gd name="connsiteX0" fmla="*/ 0 w 9156700"/>
              <a:gd name="connsiteY0" fmla="*/ 2007855 h 2007855"/>
              <a:gd name="connsiteX1" fmla="*/ 133401 w 9156700"/>
              <a:gd name="connsiteY1" fmla="*/ 1853272 h 2007855"/>
              <a:gd name="connsiteX2" fmla="*/ 4578350 w 9156700"/>
              <a:gd name="connsiteY2" fmla="*/ 0 h 2007855"/>
              <a:gd name="connsiteX3" fmla="*/ 9023299 w 9156700"/>
              <a:gd name="connsiteY3" fmla="*/ 1853272 h 2007855"/>
              <a:gd name="connsiteX4" fmla="*/ 9156700 w 9156700"/>
              <a:gd name="connsiteY4" fmla="*/ 2007855 h 200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6700" h="2007855">
                <a:moveTo>
                  <a:pt x="0" y="2007855"/>
                </a:moveTo>
                <a:lnTo>
                  <a:pt x="133401" y="1853272"/>
                </a:lnTo>
                <a:cubicBezTo>
                  <a:pt x="1173431" y="723964"/>
                  <a:pt x="2778023" y="0"/>
                  <a:pt x="4578350" y="0"/>
                </a:cubicBezTo>
                <a:cubicBezTo>
                  <a:pt x="6378678" y="0"/>
                  <a:pt x="7983270" y="723964"/>
                  <a:pt x="9023299" y="1853272"/>
                </a:cubicBezTo>
                <a:lnTo>
                  <a:pt x="9156700" y="2007855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txBody>
          <a:bodyPr vert="horz" wrap="square" lIns="288000" tIns="0" rIns="28800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fr-FR" b="1">
              <a:solidFill>
                <a:schemeClr val="bg2"/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40" hasCustomPrompt="1"/>
          </p:nvPr>
        </p:nvSpPr>
        <p:spPr>
          <a:xfrm>
            <a:off x="1147763" y="360997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41" hasCustomPrompt="1"/>
          </p:nvPr>
        </p:nvSpPr>
        <p:spPr>
          <a:xfrm>
            <a:off x="3578120" y="3163836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42" hasCustomPrompt="1"/>
          </p:nvPr>
        </p:nvSpPr>
        <p:spPr>
          <a:xfrm>
            <a:off x="5941757" y="3560650"/>
            <a:ext cx="2005012" cy="2005012"/>
          </a:xfrm>
          <a:custGeom>
            <a:avLst/>
            <a:gdLst>
              <a:gd name="connsiteX0" fmla="*/ 1002506 w 2005012"/>
              <a:gd name="connsiteY0" fmla="*/ 0 h 2005012"/>
              <a:gd name="connsiteX1" fmla="*/ 2005012 w 2005012"/>
              <a:gd name="connsiteY1" fmla="*/ 1002506 h 2005012"/>
              <a:gd name="connsiteX2" fmla="*/ 1002506 w 2005012"/>
              <a:gd name="connsiteY2" fmla="*/ 2005012 h 2005012"/>
              <a:gd name="connsiteX3" fmla="*/ 0 w 2005012"/>
              <a:gd name="connsiteY3" fmla="*/ 1002506 h 2005012"/>
              <a:gd name="connsiteX4" fmla="*/ 1002506 w 2005012"/>
              <a:gd name="connsiteY4" fmla="*/ 0 h 2005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5012" h="2005012">
                <a:moveTo>
                  <a:pt x="1002506" y="0"/>
                </a:moveTo>
                <a:cubicBezTo>
                  <a:pt x="1556175" y="0"/>
                  <a:pt x="2005012" y="448837"/>
                  <a:pt x="2005012" y="1002506"/>
                </a:cubicBezTo>
                <a:cubicBezTo>
                  <a:pt x="2005012" y="1556175"/>
                  <a:pt x="1556175" y="2005012"/>
                  <a:pt x="1002506" y="2005012"/>
                </a:cubicBezTo>
                <a:cubicBezTo>
                  <a:pt x="448837" y="2005012"/>
                  <a:pt x="0" y="1556175"/>
                  <a:pt x="0" y="1002506"/>
                </a:cubicBezTo>
                <a:cubicBezTo>
                  <a:pt x="0" y="448837"/>
                  <a:pt x="448837" y="0"/>
                  <a:pt x="1002506" y="0"/>
                </a:cubicBezTo>
                <a:close/>
              </a:path>
            </a:pathLst>
          </a:custGeom>
          <a:solidFill>
            <a:schemeClr val="accent2"/>
          </a:solidFill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wrap="square" anchor="ctr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 algn="ctr">
              <a:lnSpc>
                <a:spcPct val="85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3pPr>
            <a:lvl4pPr algn="ctr">
              <a:lnSpc>
                <a:spcPct val="9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8" name="Connecteur droit 17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sp>
        <p:nvSpPr>
          <p:cNvPr id="28" name="Espace réservé pour une image  14"/>
          <p:cNvSpPr>
            <a:spLocks noGrp="1"/>
          </p:cNvSpPr>
          <p:nvPr>
            <p:ph type="pic" sz="quarter" idx="23" hasCustomPrompt="1"/>
          </p:nvPr>
        </p:nvSpPr>
        <p:spPr>
          <a:xfrm>
            <a:off x="457200" y="6513480"/>
            <a:ext cx="1080000" cy="270000"/>
          </a:xfrm>
        </p:spPr>
        <p:txBody>
          <a:bodyPr>
            <a:normAutofit/>
          </a:bodyPr>
          <a:lstStyle>
            <a:lvl1pPr algn="ctr">
              <a:defRPr sz="1700">
                <a:solidFill>
                  <a:schemeClr val="tx2"/>
                </a:solidFill>
              </a:defRPr>
            </a:lvl1pPr>
          </a:lstStyle>
          <a:p>
            <a:r>
              <a:rPr lang="fr-FR" dirty="0" smtClean="0"/>
              <a:t>CLIENTS</a:t>
            </a:r>
            <a:endParaRPr lang="fr-FR" dirty="0"/>
          </a:p>
        </p:txBody>
      </p:sp>
      <p:grpSp>
        <p:nvGrpSpPr>
          <p:cNvPr id="29" name="Groupe 2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30" name="Connecteur droit 2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ZoneTexte 33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603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erme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25878" y="3500645"/>
            <a:ext cx="8388000" cy="1152000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>
              <a:solidFill>
                <a:schemeClr val="lt1"/>
              </a:solidFill>
            </a:endParaRPr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18"/>
          </p:nvPr>
        </p:nvSpPr>
        <p:spPr>
          <a:xfrm>
            <a:off x="2425700" y="3500517"/>
            <a:ext cx="5934964" cy="1152128"/>
          </a:xfrm>
          <a:noFill/>
          <a:effectLst/>
        </p:spPr>
        <p:txBody>
          <a:bodyPr lIns="0" rIns="0" anchor="ctr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2800" cap="all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20" name="Image 19" descr="LOGO STEF.ai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60" r="59076"/>
          <a:stretch/>
        </p:blipFill>
        <p:spPr>
          <a:xfrm>
            <a:off x="476296" y="3822309"/>
            <a:ext cx="1584176" cy="440419"/>
          </a:xfrm>
          <a:prstGeom prst="rect">
            <a:avLst/>
          </a:prstGeom>
        </p:spPr>
      </p:pic>
      <p:grpSp>
        <p:nvGrpSpPr>
          <p:cNvPr id="5" name="Group 6"/>
          <p:cNvGrpSpPr>
            <a:grpSpLocks noChangeAspect="1"/>
          </p:cNvGrpSpPr>
          <p:nvPr userDrawn="1"/>
        </p:nvGrpSpPr>
        <p:grpSpPr bwMode="auto">
          <a:xfrm>
            <a:off x="490980" y="3890435"/>
            <a:ext cx="1539818" cy="352390"/>
            <a:chOff x="1457" y="1832"/>
            <a:chExt cx="2849" cy="652"/>
          </a:xfrm>
        </p:grpSpPr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3375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3654" y="1832"/>
              <a:ext cx="652" cy="652"/>
            </a:xfrm>
            <a:custGeom>
              <a:avLst/>
              <a:gdLst>
                <a:gd name="T0" fmla="*/ 138 w 276"/>
                <a:gd name="T1" fmla="*/ 0 h 276"/>
                <a:gd name="T2" fmla="*/ 0 w 276"/>
                <a:gd name="T3" fmla="*/ 138 h 276"/>
                <a:gd name="T4" fmla="*/ 138 w 276"/>
                <a:gd name="T5" fmla="*/ 276 h 276"/>
                <a:gd name="T6" fmla="*/ 276 w 276"/>
                <a:gd name="T7" fmla="*/ 138 h 276"/>
                <a:gd name="T8" fmla="*/ 138 w 276"/>
                <a:gd name="T9" fmla="*/ 0 h 276"/>
                <a:gd name="T10" fmla="*/ 138 w 276"/>
                <a:gd name="T11" fmla="*/ 217 h 276"/>
                <a:gd name="T12" fmla="*/ 59 w 276"/>
                <a:gd name="T13" fmla="*/ 138 h 276"/>
                <a:gd name="T14" fmla="*/ 138 w 276"/>
                <a:gd name="T15" fmla="*/ 59 h 276"/>
                <a:gd name="T16" fmla="*/ 217 w 276"/>
                <a:gd name="T17" fmla="*/ 138 h 276"/>
                <a:gd name="T18" fmla="*/ 138 w 276"/>
                <a:gd name="T19" fmla="*/ 21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0"/>
                  </a:moveTo>
                  <a:cubicBezTo>
                    <a:pt x="62" y="0"/>
                    <a:pt x="0" y="62"/>
                    <a:pt x="0" y="138"/>
                  </a:cubicBezTo>
                  <a:cubicBezTo>
                    <a:pt x="0" y="214"/>
                    <a:pt x="62" y="276"/>
                    <a:pt x="138" y="276"/>
                  </a:cubicBezTo>
                  <a:cubicBezTo>
                    <a:pt x="214" y="276"/>
                    <a:pt x="276" y="214"/>
                    <a:pt x="276" y="138"/>
                  </a:cubicBezTo>
                  <a:cubicBezTo>
                    <a:pt x="276" y="62"/>
                    <a:pt x="214" y="0"/>
                    <a:pt x="138" y="0"/>
                  </a:cubicBezTo>
                  <a:moveTo>
                    <a:pt x="138" y="217"/>
                  </a:moveTo>
                  <a:cubicBezTo>
                    <a:pt x="94" y="217"/>
                    <a:pt x="59" y="182"/>
                    <a:pt x="59" y="138"/>
                  </a:cubicBezTo>
                  <a:cubicBezTo>
                    <a:pt x="59" y="95"/>
                    <a:pt x="94" y="59"/>
                    <a:pt x="138" y="59"/>
                  </a:cubicBezTo>
                  <a:cubicBezTo>
                    <a:pt x="181" y="59"/>
                    <a:pt x="217" y="95"/>
                    <a:pt x="217" y="138"/>
                  </a:cubicBezTo>
                  <a:cubicBezTo>
                    <a:pt x="217" y="182"/>
                    <a:pt x="181" y="217"/>
                    <a:pt x="138" y="2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1906" y="1926"/>
              <a:ext cx="482" cy="470"/>
            </a:xfrm>
            <a:custGeom>
              <a:avLst/>
              <a:gdLst>
                <a:gd name="T0" fmla="*/ 0 w 204"/>
                <a:gd name="T1" fmla="*/ 26 h 199"/>
                <a:gd name="T2" fmla="*/ 27 w 204"/>
                <a:gd name="T3" fmla="*/ 0 h 199"/>
                <a:gd name="T4" fmla="*/ 34 w 204"/>
                <a:gd name="T5" fmla="*/ 0 h 199"/>
                <a:gd name="T6" fmla="*/ 201 w 204"/>
                <a:gd name="T7" fmla="*/ 0 h 199"/>
                <a:gd name="T8" fmla="*/ 204 w 204"/>
                <a:gd name="T9" fmla="*/ 0 h 199"/>
                <a:gd name="T10" fmla="*/ 169 w 204"/>
                <a:gd name="T11" fmla="*/ 26 h 199"/>
                <a:gd name="T12" fmla="*/ 105 w 204"/>
                <a:gd name="T13" fmla="*/ 26 h 199"/>
                <a:gd name="T14" fmla="*/ 105 w 204"/>
                <a:gd name="T15" fmla="*/ 140 h 199"/>
                <a:gd name="T16" fmla="*/ 61 w 204"/>
                <a:gd name="T17" fmla="*/ 198 h 199"/>
                <a:gd name="T18" fmla="*/ 58 w 204"/>
                <a:gd name="T19" fmla="*/ 198 h 199"/>
                <a:gd name="T20" fmla="*/ 58 w 204"/>
                <a:gd name="T21" fmla="*/ 26 h 199"/>
                <a:gd name="T22" fmla="*/ 8 w 204"/>
                <a:gd name="T23" fmla="*/ 26 h 199"/>
                <a:gd name="T24" fmla="*/ 0 w 204"/>
                <a:gd name="T25" fmla="*/ 2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199">
                  <a:moveTo>
                    <a:pt x="0" y="26"/>
                  </a:moveTo>
                  <a:cubicBezTo>
                    <a:pt x="5" y="8"/>
                    <a:pt x="15" y="0"/>
                    <a:pt x="2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185" y="9"/>
                    <a:pt x="169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140"/>
                    <a:pt x="105" y="140"/>
                    <a:pt x="105" y="140"/>
                  </a:cubicBezTo>
                  <a:cubicBezTo>
                    <a:pt x="105" y="140"/>
                    <a:pt x="105" y="199"/>
                    <a:pt x="61" y="198"/>
                  </a:cubicBezTo>
                  <a:cubicBezTo>
                    <a:pt x="58" y="198"/>
                    <a:pt x="58" y="198"/>
                    <a:pt x="58" y="198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2905" y="1919"/>
              <a:ext cx="393" cy="477"/>
            </a:xfrm>
            <a:custGeom>
              <a:avLst/>
              <a:gdLst>
                <a:gd name="T0" fmla="*/ 128 w 166"/>
                <a:gd name="T1" fmla="*/ 84 h 202"/>
                <a:gd name="T2" fmla="*/ 101 w 166"/>
                <a:gd name="T3" fmla="*/ 110 h 202"/>
                <a:gd name="T4" fmla="*/ 96 w 166"/>
                <a:gd name="T5" fmla="*/ 110 h 202"/>
                <a:gd name="T6" fmla="*/ 74 w 166"/>
                <a:gd name="T7" fmla="*/ 110 h 202"/>
                <a:gd name="T8" fmla="*/ 60 w 166"/>
                <a:gd name="T9" fmla="*/ 110 h 202"/>
                <a:gd name="T10" fmla="*/ 47 w 166"/>
                <a:gd name="T11" fmla="*/ 110 h 202"/>
                <a:gd name="T12" fmla="*/ 47 w 166"/>
                <a:gd name="T13" fmla="*/ 118 h 202"/>
                <a:gd name="T14" fmla="*/ 47 w 166"/>
                <a:gd name="T15" fmla="*/ 126 h 202"/>
                <a:gd name="T16" fmla="*/ 47 w 166"/>
                <a:gd name="T17" fmla="*/ 143 h 202"/>
                <a:gd name="T18" fmla="*/ 4 w 166"/>
                <a:gd name="T19" fmla="*/ 201 h 202"/>
                <a:gd name="T20" fmla="*/ 0 w 166"/>
                <a:gd name="T21" fmla="*/ 201 h 202"/>
                <a:gd name="T22" fmla="*/ 0 w 166"/>
                <a:gd name="T23" fmla="*/ 131 h 202"/>
                <a:gd name="T24" fmla="*/ 0 w 166"/>
                <a:gd name="T25" fmla="*/ 129 h 202"/>
                <a:gd name="T26" fmla="*/ 0 w 166"/>
                <a:gd name="T27" fmla="*/ 51 h 202"/>
                <a:gd name="T28" fmla="*/ 0 w 166"/>
                <a:gd name="T29" fmla="*/ 49 h 202"/>
                <a:gd name="T30" fmla="*/ 59 w 166"/>
                <a:gd name="T31" fmla="*/ 3 h 202"/>
                <a:gd name="T32" fmla="*/ 166 w 166"/>
                <a:gd name="T33" fmla="*/ 3 h 202"/>
                <a:gd name="T34" fmla="*/ 154 w 166"/>
                <a:gd name="T35" fmla="*/ 14 h 202"/>
                <a:gd name="T36" fmla="*/ 146 w 166"/>
                <a:gd name="T37" fmla="*/ 29 h 202"/>
                <a:gd name="T38" fmla="*/ 78 w 166"/>
                <a:gd name="T39" fmla="*/ 29 h 202"/>
                <a:gd name="T40" fmla="*/ 48 w 166"/>
                <a:gd name="T41" fmla="*/ 53 h 202"/>
                <a:gd name="T42" fmla="*/ 47 w 166"/>
                <a:gd name="T43" fmla="*/ 56 h 202"/>
                <a:gd name="T44" fmla="*/ 47 w 166"/>
                <a:gd name="T45" fmla="*/ 84 h 202"/>
                <a:gd name="T46" fmla="*/ 128 w 166"/>
                <a:gd name="T47" fmla="*/ 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" h="202">
                  <a:moveTo>
                    <a:pt x="128" y="84"/>
                  </a:moveTo>
                  <a:cubicBezTo>
                    <a:pt x="129" y="94"/>
                    <a:pt x="122" y="110"/>
                    <a:pt x="101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7" y="126"/>
                    <a:pt x="47" y="126"/>
                    <a:pt x="47" y="126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7" y="143"/>
                    <a:pt x="48" y="202"/>
                    <a:pt x="4" y="20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0"/>
                    <a:pt x="59" y="3"/>
                    <a:pt x="59" y="3"/>
                  </a:cubicBezTo>
                  <a:cubicBezTo>
                    <a:pt x="166" y="3"/>
                    <a:pt x="166" y="3"/>
                    <a:pt x="166" y="3"/>
                  </a:cubicBezTo>
                  <a:cubicBezTo>
                    <a:pt x="161" y="7"/>
                    <a:pt x="158" y="9"/>
                    <a:pt x="154" y="14"/>
                  </a:cubicBezTo>
                  <a:cubicBezTo>
                    <a:pt x="151" y="19"/>
                    <a:pt x="148" y="23"/>
                    <a:pt x="146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48" y="27"/>
                    <a:pt x="48" y="53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84"/>
                    <a:pt x="47" y="84"/>
                    <a:pt x="47" y="84"/>
                  </a:cubicBezTo>
                  <a:lnTo>
                    <a:pt x="128" y="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2308" y="1919"/>
              <a:ext cx="555" cy="539"/>
            </a:xfrm>
            <a:custGeom>
              <a:avLst/>
              <a:gdLst>
                <a:gd name="T0" fmla="*/ 197 w 235"/>
                <a:gd name="T1" fmla="*/ 168 h 228"/>
                <a:gd name="T2" fmla="*/ 231 w 235"/>
                <a:gd name="T3" fmla="*/ 180 h 228"/>
                <a:gd name="T4" fmla="*/ 232 w 235"/>
                <a:gd name="T5" fmla="*/ 183 h 228"/>
                <a:gd name="T6" fmla="*/ 36 w 235"/>
                <a:gd name="T7" fmla="*/ 178 h 228"/>
                <a:gd name="T8" fmla="*/ 0 w 235"/>
                <a:gd name="T9" fmla="*/ 99 h 228"/>
                <a:gd name="T10" fmla="*/ 34 w 235"/>
                <a:gd name="T11" fmla="*/ 27 h 228"/>
                <a:gd name="T12" fmla="*/ 122 w 235"/>
                <a:gd name="T13" fmla="*/ 0 h 228"/>
                <a:gd name="T14" fmla="*/ 210 w 235"/>
                <a:gd name="T15" fmla="*/ 31 h 228"/>
                <a:gd name="T16" fmla="*/ 235 w 235"/>
                <a:gd name="T17" fmla="*/ 110 h 228"/>
                <a:gd name="T18" fmla="*/ 78 w 235"/>
                <a:gd name="T19" fmla="*/ 110 h 228"/>
                <a:gd name="T20" fmla="*/ 105 w 235"/>
                <a:gd name="T21" fmla="*/ 85 h 228"/>
                <a:gd name="T22" fmla="*/ 110 w 235"/>
                <a:gd name="T23" fmla="*/ 84 h 228"/>
                <a:gd name="T24" fmla="*/ 184 w 235"/>
                <a:gd name="T25" fmla="*/ 84 h 228"/>
                <a:gd name="T26" fmla="*/ 169 w 235"/>
                <a:gd name="T27" fmla="*/ 46 h 228"/>
                <a:gd name="T28" fmla="*/ 120 w 235"/>
                <a:gd name="T29" fmla="*/ 29 h 228"/>
                <a:gd name="T30" fmla="*/ 65 w 235"/>
                <a:gd name="T31" fmla="*/ 51 h 228"/>
                <a:gd name="T32" fmla="*/ 52 w 235"/>
                <a:gd name="T33" fmla="*/ 75 h 228"/>
                <a:gd name="T34" fmla="*/ 50 w 235"/>
                <a:gd name="T35" fmla="*/ 119 h 228"/>
                <a:gd name="T36" fmla="*/ 51 w 235"/>
                <a:gd name="T37" fmla="*/ 121 h 228"/>
                <a:gd name="T38" fmla="*/ 76 w 235"/>
                <a:gd name="T39" fmla="*/ 157 h 228"/>
                <a:gd name="T40" fmla="*/ 195 w 235"/>
                <a:gd name="T41" fmla="*/ 168 h 228"/>
                <a:gd name="T42" fmla="*/ 197 w 235"/>
                <a:gd name="T43" fmla="*/ 16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8">
                  <a:moveTo>
                    <a:pt x="197" y="168"/>
                  </a:moveTo>
                  <a:cubicBezTo>
                    <a:pt x="197" y="168"/>
                    <a:pt x="221" y="158"/>
                    <a:pt x="231" y="180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132" y="228"/>
                    <a:pt x="57" y="196"/>
                    <a:pt x="36" y="178"/>
                  </a:cubicBezTo>
                  <a:cubicBezTo>
                    <a:pt x="13" y="159"/>
                    <a:pt x="0" y="134"/>
                    <a:pt x="0" y="99"/>
                  </a:cubicBezTo>
                  <a:cubicBezTo>
                    <a:pt x="0" y="69"/>
                    <a:pt x="11" y="45"/>
                    <a:pt x="34" y="27"/>
                  </a:cubicBezTo>
                  <a:cubicBezTo>
                    <a:pt x="57" y="9"/>
                    <a:pt x="86" y="0"/>
                    <a:pt x="122" y="0"/>
                  </a:cubicBezTo>
                  <a:cubicBezTo>
                    <a:pt x="162" y="0"/>
                    <a:pt x="192" y="10"/>
                    <a:pt x="210" y="31"/>
                  </a:cubicBezTo>
                  <a:cubicBezTo>
                    <a:pt x="227" y="49"/>
                    <a:pt x="235" y="76"/>
                    <a:pt x="235" y="110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7" y="101"/>
                    <a:pt x="84" y="85"/>
                    <a:pt x="105" y="8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84" y="70"/>
                    <a:pt x="179" y="56"/>
                    <a:pt x="169" y="46"/>
                  </a:cubicBezTo>
                  <a:cubicBezTo>
                    <a:pt x="157" y="35"/>
                    <a:pt x="141" y="29"/>
                    <a:pt x="120" y="29"/>
                  </a:cubicBezTo>
                  <a:cubicBezTo>
                    <a:pt x="96" y="29"/>
                    <a:pt x="78" y="36"/>
                    <a:pt x="65" y="51"/>
                  </a:cubicBezTo>
                  <a:cubicBezTo>
                    <a:pt x="58" y="58"/>
                    <a:pt x="54" y="67"/>
                    <a:pt x="52" y="75"/>
                  </a:cubicBezTo>
                  <a:cubicBezTo>
                    <a:pt x="52" y="75"/>
                    <a:pt x="45" y="94"/>
                    <a:pt x="50" y="119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4" y="138"/>
                    <a:pt x="63" y="147"/>
                    <a:pt x="76" y="157"/>
                  </a:cubicBezTo>
                  <a:cubicBezTo>
                    <a:pt x="87" y="165"/>
                    <a:pt x="134" y="185"/>
                    <a:pt x="195" y="168"/>
                  </a:cubicBezTo>
                  <a:lnTo>
                    <a:pt x="197" y="1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457" y="1926"/>
              <a:ext cx="475" cy="477"/>
            </a:xfrm>
            <a:custGeom>
              <a:avLst/>
              <a:gdLst>
                <a:gd name="T0" fmla="*/ 163 w 201"/>
                <a:gd name="T1" fmla="*/ 26 h 202"/>
                <a:gd name="T2" fmla="*/ 182 w 201"/>
                <a:gd name="T3" fmla="*/ 0 h 202"/>
                <a:gd name="T4" fmla="*/ 106 w 201"/>
                <a:gd name="T5" fmla="*/ 0 h 202"/>
                <a:gd name="T6" fmla="*/ 100 w 201"/>
                <a:gd name="T7" fmla="*/ 0 h 202"/>
                <a:gd name="T8" fmla="*/ 66 w 201"/>
                <a:gd name="T9" fmla="*/ 3 h 202"/>
                <a:gd name="T10" fmla="*/ 38 w 201"/>
                <a:gd name="T11" fmla="*/ 12 h 202"/>
                <a:gd name="T12" fmla="*/ 10 w 201"/>
                <a:gd name="T13" fmla="*/ 50 h 202"/>
                <a:gd name="T14" fmla="*/ 32 w 201"/>
                <a:gd name="T15" fmla="*/ 85 h 202"/>
                <a:gd name="T16" fmla="*/ 90 w 201"/>
                <a:gd name="T17" fmla="*/ 106 h 202"/>
                <a:gd name="T18" fmla="*/ 139 w 201"/>
                <a:gd name="T19" fmla="*/ 125 h 202"/>
                <a:gd name="T20" fmla="*/ 151 w 201"/>
                <a:gd name="T21" fmla="*/ 145 h 202"/>
                <a:gd name="T22" fmla="*/ 131 w 201"/>
                <a:gd name="T23" fmla="*/ 169 h 202"/>
                <a:gd name="T24" fmla="*/ 87 w 201"/>
                <a:gd name="T25" fmla="*/ 177 h 202"/>
                <a:gd name="T26" fmla="*/ 54 w 201"/>
                <a:gd name="T27" fmla="*/ 174 h 202"/>
                <a:gd name="T28" fmla="*/ 47 w 201"/>
                <a:gd name="T29" fmla="*/ 173 h 202"/>
                <a:gd name="T30" fmla="*/ 37 w 201"/>
                <a:gd name="T31" fmla="*/ 171 h 202"/>
                <a:gd name="T32" fmla="*/ 34 w 201"/>
                <a:gd name="T33" fmla="*/ 170 h 202"/>
                <a:gd name="T34" fmla="*/ 1 w 201"/>
                <a:gd name="T35" fmla="*/ 185 h 202"/>
                <a:gd name="T36" fmla="*/ 0 w 201"/>
                <a:gd name="T37" fmla="*/ 188 h 202"/>
                <a:gd name="T38" fmla="*/ 2 w 201"/>
                <a:gd name="T39" fmla="*/ 189 h 202"/>
                <a:gd name="T40" fmla="*/ 6 w 201"/>
                <a:gd name="T41" fmla="*/ 190 h 202"/>
                <a:gd name="T42" fmla="*/ 50 w 201"/>
                <a:gd name="T43" fmla="*/ 200 h 202"/>
                <a:gd name="T44" fmla="*/ 81 w 201"/>
                <a:gd name="T45" fmla="*/ 202 h 202"/>
                <a:gd name="T46" fmla="*/ 177 w 201"/>
                <a:gd name="T47" fmla="*/ 182 h 202"/>
                <a:gd name="T48" fmla="*/ 201 w 201"/>
                <a:gd name="T49" fmla="*/ 143 h 202"/>
                <a:gd name="T50" fmla="*/ 176 w 201"/>
                <a:gd name="T51" fmla="*/ 104 h 202"/>
                <a:gd name="T52" fmla="*/ 113 w 201"/>
                <a:gd name="T53" fmla="*/ 80 h 202"/>
                <a:gd name="T54" fmla="*/ 72 w 201"/>
                <a:gd name="T55" fmla="*/ 65 h 202"/>
                <a:gd name="T56" fmla="*/ 60 w 201"/>
                <a:gd name="T57" fmla="*/ 48 h 202"/>
                <a:gd name="T58" fmla="*/ 72 w 201"/>
                <a:gd name="T59" fmla="*/ 31 h 202"/>
                <a:gd name="T60" fmla="*/ 98 w 201"/>
                <a:gd name="T61" fmla="*/ 25 h 202"/>
                <a:gd name="T62" fmla="*/ 100 w 201"/>
                <a:gd name="T63" fmla="*/ 26 h 202"/>
                <a:gd name="T64" fmla="*/ 157 w 201"/>
                <a:gd name="T65" fmla="*/ 26 h 202"/>
                <a:gd name="T66" fmla="*/ 163 w 201"/>
                <a:gd name="T67" fmla="*/ 2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1" h="202">
                  <a:moveTo>
                    <a:pt x="163" y="26"/>
                  </a:moveTo>
                  <a:cubicBezTo>
                    <a:pt x="168" y="11"/>
                    <a:pt x="175" y="4"/>
                    <a:pt x="18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80" y="0"/>
                    <a:pt x="66" y="3"/>
                    <a:pt x="66" y="3"/>
                  </a:cubicBezTo>
                  <a:cubicBezTo>
                    <a:pt x="54" y="5"/>
                    <a:pt x="46" y="8"/>
                    <a:pt x="38" y="12"/>
                  </a:cubicBezTo>
                  <a:cubicBezTo>
                    <a:pt x="19" y="21"/>
                    <a:pt x="10" y="34"/>
                    <a:pt x="10" y="50"/>
                  </a:cubicBezTo>
                  <a:cubicBezTo>
                    <a:pt x="10" y="64"/>
                    <a:pt x="17" y="76"/>
                    <a:pt x="32" y="85"/>
                  </a:cubicBezTo>
                  <a:cubicBezTo>
                    <a:pt x="44" y="92"/>
                    <a:pt x="63" y="99"/>
                    <a:pt x="90" y="106"/>
                  </a:cubicBezTo>
                  <a:cubicBezTo>
                    <a:pt x="114" y="113"/>
                    <a:pt x="131" y="119"/>
                    <a:pt x="139" y="125"/>
                  </a:cubicBezTo>
                  <a:cubicBezTo>
                    <a:pt x="147" y="130"/>
                    <a:pt x="151" y="137"/>
                    <a:pt x="151" y="145"/>
                  </a:cubicBezTo>
                  <a:cubicBezTo>
                    <a:pt x="151" y="154"/>
                    <a:pt x="144" y="163"/>
                    <a:pt x="131" y="169"/>
                  </a:cubicBezTo>
                  <a:cubicBezTo>
                    <a:pt x="118" y="174"/>
                    <a:pt x="104" y="177"/>
                    <a:pt x="87" y="177"/>
                  </a:cubicBezTo>
                  <a:cubicBezTo>
                    <a:pt x="77" y="177"/>
                    <a:pt x="65" y="176"/>
                    <a:pt x="54" y="174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3" y="172"/>
                    <a:pt x="41" y="172"/>
                    <a:pt x="37" y="171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4" y="170"/>
                    <a:pt x="9" y="166"/>
                    <a:pt x="1" y="185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0" y="188"/>
                    <a:pt x="1" y="189"/>
                    <a:pt x="2" y="189"/>
                  </a:cubicBezTo>
                  <a:cubicBezTo>
                    <a:pt x="6" y="190"/>
                    <a:pt x="6" y="190"/>
                    <a:pt x="6" y="190"/>
                  </a:cubicBezTo>
                  <a:cubicBezTo>
                    <a:pt x="20" y="195"/>
                    <a:pt x="40" y="198"/>
                    <a:pt x="50" y="200"/>
                  </a:cubicBezTo>
                  <a:cubicBezTo>
                    <a:pt x="61" y="201"/>
                    <a:pt x="72" y="202"/>
                    <a:pt x="81" y="202"/>
                  </a:cubicBezTo>
                  <a:cubicBezTo>
                    <a:pt x="124" y="202"/>
                    <a:pt x="156" y="195"/>
                    <a:pt x="177" y="182"/>
                  </a:cubicBezTo>
                  <a:cubicBezTo>
                    <a:pt x="193" y="172"/>
                    <a:pt x="201" y="159"/>
                    <a:pt x="201" y="143"/>
                  </a:cubicBezTo>
                  <a:cubicBezTo>
                    <a:pt x="201" y="127"/>
                    <a:pt x="193" y="114"/>
                    <a:pt x="176" y="104"/>
                  </a:cubicBezTo>
                  <a:cubicBezTo>
                    <a:pt x="164" y="96"/>
                    <a:pt x="143" y="88"/>
                    <a:pt x="113" y="80"/>
                  </a:cubicBezTo>
                  <a:cubicBezTo>
                    <a:pt x="93" y="75"/>
                    <a:pt x="80" y="69"/>
                    <a:pt x="72" y="65"/>
                  </a:cubicBezTo>
                  <a:cubicBezTo>
                    <a:pt x="64" y="60"/>
                    <a:pt x="60" y="54"/>
                    <a:pt x="60" y="48"/>
                  </a:cubicBezTo>
                  <a:cubicBezTo>
                    <a:pt x="60" y="40"/>
                    <a:pt x="65" y="34"/>
                    <a:pt x="72" y="31"/>
                  </a:cubicBezTo>
                  <a:cubicBezTo>
                    <a:pt x="72" y="31"/>
                    <a:pt x="78" y="26"/>
                    <a:pt x="98" y="25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57" y="26"/>
                    <a:pt x="157" y="26"/>
                    <a:pt x="157" y="26"/>
                  </a:cubicBezTo>
                  <a:lnTo>
                    <a:pt x="163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3" name="ZoneTexte 12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7270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5261" userDrawn="1">
          <p15:clr>
            <a:srgbClr val="FBAE40"/>
          </p15:clr>
        </p15:guide>
        <p15:guide id="3" pos="152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5"/>
          <p:cNvSpPr>
            <a:spLocks/>
          </p:cNvSpPr>
          <p:nvPr userDrawn="1"/>
        </p:nvSpPr>
        <p:spPr bwMode="auto">
          <a:xfrm>
            <a:off x="0" y="-6350"/>
            <a:ext cx="4560888" cy="2330450"/>
          </a:xfrm>
          <a:custGeom>
            <a:avLst/>
            <a:gdLst>
              <a:gd name="T0" fmla="*/ 0 w 4775"/>
              <a:gd name="T1" fmla="*/ 2334 h 2432"/>
              <a:gd name="T2" fmla="*/ 0 w 4775"/>
              <a:gd name="T3" fmla="*/ 2334 h 2432"/>
              <a:gd name="T4" fmla="*/ 3411 w 4775"/>
              <a:gd name="T5" fmla="*/ 1350 h 2432"/>
              <a:gd name="T6" fmla="*/ 3794 w 4775"/>
              <a:gd name="T7" fmla="*/ 1051 h 2432"/>
              <a:gd name="T8" fmla="*/ 4775 w 4775"/>
              <a:gd name="T9" fmla="*/ 0 h 2432"/>
              <a:gd name="T10" fmla="*/ 0 w 4775"/>
              <a:gd name="T11" fmla="*/ 0 h 2432"/>
              <a:gd name="T12" fmla="*/ 0 w 4775"/>
              <a:gd name="T13" fmla="*/ 2334 h 2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75" h="2432">
                <a:moveTo>
                  <a:pt x="0" y="2334"/>
                </a:moveTo>
                <a:lnTo>
                  <a:pt x="0" y="2334"/>
                </a:lnTo>
                <a:cubicBezTo>
                  <a:pt x="1162" y="2432"/>
                  <a:pt x="2500" y="2010"/>
                  <a:pt x="3411" y="1350"/>
                </a:cubicBezTo>
                <a:cubicBezTo>
                  <a:pt x="3544" y="1253"/>
                  <a:pt x="3672" y="1154"/>
                  <a:pt x="3794" y="1051"/>
                </a:cubicBezTo>
                <a:cubicBezTo>
                  <a:pt x="4175" y="731"/>
                  <a:pt x="4501" y="382"/>
                  <a:pt x="4775" y="0"/>
                </a:cubicBezTo>
                <a:lnTo>
                  <a:pt x="0" y="0"/>
                </a:lnTo>
                <a:lnTo>
                  <a:pt x="0" y="2334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2425" y="373381"/>
            <a:ext cx="3594100" cy="1672907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e 13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19" name="Groupe 1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0" name="Connecteur droit 1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9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0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1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704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- Titre moy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4C64-9A91-4639-8F7B-712AFDBF1475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3175" y="0"/>
            <a:ext cx="4576763" cy="2906713"/>
          </a:xfrm>
          <a:custGeom>
            <a:avLst/>
            <a:gdLst>
              <a:gd name="T0" fmla="*/ 0 w 1443"/>
              <a:gd name="T1" fmla="*/ 916 h 916"/>
              <a:gd name="T2" fmla="*/ 877 w 1443"/>
              <a:gd name="T3" fmla="*/ 637 h 916"/>
              <a:gd name="T4" fmla="*/ 994 w 1443"/>
              <a:gd name="T5" fmla="*/ 549 h 916"/>
              <a:gd name="T6" fmla="*/ 1443 w 1443"/>
              <a:gd name="T7" fmla="*/ 0 h 916"/>
              <a:gd name="T8" fmla="*/ 0 w 1443"/>
              <a:gd name="T9" fmla="*/ 0 h 916"/>
              <a:gd name="T10" fmla="*/ 0 w 1443"/>
              <a:gd name="T11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3" h="916">
                <a:moveTo>
                  <a:pt x="0" y="916"/>
                </a:moveTo>
                <a:cubicBezTo>
                  <a:pt x="309" y="911"/>
                  <a:pt x="639" y="801"/>
                  <a:pt x="877" y="637"/>
                </a:cubicBezTo>
                <a:cubicBezTo>
                  <a:pt x="917" y="608"/>
                  <a:pt x="956" y="579"/>
                  <a:pt x="994" y="549"/>
                </a:cubicBezTo>
                <a:cubicBezTo>
                  <a:pt x="1187" y="394"/>
                  <a:pt x="1336" y="214"/>
                  <a:pt x="1443" y="0"/>
                </a:cubicBezTo>
                <a:cubicBezTo>
                  <a:pt x="0" y="0"/>
                  <a:pt x="0" y="0"/>
                  <a:pt x="0" y="0"/>
                </a:cubicBezTo>
                <a:lnTo>
                  <a:pt x="0" y="916"/>
                </a:lnTo>
                <a:close/>
              </a:path>
            </a:pathLst>
          </a:custGeom>
          <a:solidFill>
            <a:srgbClr val="009EE0">
              <a:alpha val="8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2425" y="373381"/>
            <a:ext cx="3594100" cy="211074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spcAft>
                <a:spcPts val="0"/>
              </a:spcAft>
              <a:defRPr sz="3200" b="0" cap="all" baseline="0">
                <a:solidFill>
                  <a:schemeClr val="bg1"/>
                </a:solidFill>
              </a:defRPr>
            </a:lvl1pPr>
            <a:lvl2pPr>
              <a:lnSpc>
                <a:spcPct val="82000"/>
              </a:lnSpc>
              <a:spcAft>
                <a:spcPts val="0"/>
              </a:spcAft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de la slide</a:t>
            </a:r>
          </a:p>
          <a:p>
            <a:pPr lvl="1"/>
            <a:r>
              <a:rPr lang="fr-FR" dirty="0" smtClean="0"/>
              <a:t>Sous- titre de la slide</a:t>
            </a: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9393536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e 12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15" name="Connecteur droit 14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268" y="4004057"/>
            <a:ext cx="1921932" cy="1444809"/>
          </a:xfrm>
          <a:prstGeom prst="rect">
            <a:avLst/>
          </a:prstGeom>
        </p:spPr>
      </p:pic>
      <p:grpSp>
        <p:nvGrpSpPr>
          <p:cNvPr id="19" name="Groupe 18"/>
          <p:cNvGrpSpPr/>
          <p:nvPr userDrawn="1"/>
        </p:nvGrpSpPr>
        <p:grpSpPr>
          <a:xfrm rot="5400000" flipH="1">
            <a:off x="1547992" y="5577704"/>
            <a:ext cx="144016" cy="2828440"/>
            <a:chOff x="-252537" y="-1"/>
            <a:chExt cx="144016" cy="2828440"/>
          </a:xfrm>
        </p:grpSpPr>
        <p:cxnSp>
          <p:nvCxnSpPr>
            <p:cNvPr id="20" name="Connecteur droit 19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 userDrawn="1"/>
          </p:nvCxnSpPr>
          <p:spPr>
            <a:xfrm flipH="1">
              <a:off x="-252537" y="-1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/>
            <p:nvPr userDrawn="1"/>
          </p:nvCxnSpPr>
          <p:spPr>
            <a:xfrm flipH="1">
              <a:off x="-252537" y="884744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/>
            <p:nvPr userDrawn="1"/>
          </p:nvCxnSpPr>
          <p:spPr>
            <a:xfrm flipH="1">
              <a:off x="-252537" y="2828439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e 27"/>
          <p:cNvGrpSpPr/>
          <p:nvPr userDrawn="1"/>
        </p:nvGrpSpPr>
        <p:grpSpPr>
          <a:xfrm flipH="1">
            <a:off x="9249520" y="2667486"/>
            <a:ext cx="144016" cy="2828439"/>
            <a:chOff x="-252536" y="0"/>
            <a:chExt cx="144016" cy="2828439"/>
          </a:xfrm>
        </p:grpSpPr>
        <p:cxnSp>
          <p:nvCxnSpPr>
            <p:cNvPr id="29" name="Connecteur droit 28"/>
            <p:cNvCxnSpPr/>
            <p:nvPr userDrawn="1"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/>
            <p:nvPr userDrawn="1"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Espace réservé du texte 5"/>
          <p:cNvSpPr>
            <a:spLocks noGrp="1"/>
          </p:cNvSpPr>
          <p:nvPr>
            <p:ph type="body" sz="quarter" idx="36" hasCustomPrompt="1"/>
          </p:nvPr>
        </p:nvSpPr>
        <p:spPr>
          <a:xfrm>
            <a:off x="5076000" y="767122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2" name="Espace réservé du texte 5"/>
          <p:cNvSpPr>
            <a:spLocks noGrp="1"/>
          </p:cNvSpPr>
          <p:nvPr>
            <p:ph type="body" sz="quarter" idx="34" hasCustomPrompt="1"/>
          </p:nvPr>
        </p:nvSpPr>
        <p:spPr>
          <a:xfrm>
            <a:off x="5076000" y="3411119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3" name="Espace réservé du texte 5"/>
          <p:cNvSpPr>
            <a:spLocks noGrp="1"/>
          </p:cNvSpPr>
          <p:nvPr>
            <p:ph type="body" sz="quarter" idx="35" hasCustomPrompt="1"/>
          </p:nvPr>
        </p:nvSpPr>
        <p:spPr>
          <a:xfrm>
            <a:off x="5076000" y="4726648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4" name="Espace réservé du texte 5"/>
          <p:cNvSpPr>
            <a:spLocks noGrp="1"/>
          </p:cNvSpPr>
          <p:nvPr>
            <p:ph type="body" sz="quarter" idx="33" hasCustomPrompt="1"/>
          </p:nvPr>
        </p:nvSpPr>
        <p:spPr>
          <a:xfrm>
            <a:off x="5076000" y="2095590"/>
            <a:ext cx="4068000" cy="1152000"/>
          </a:xfrm>
          <a:solidFill>
            <a:schemeClr val="bg1">
              <a:alpha val="90000"/>
            </a:schemeClr>
          </a:solidFill>
          <a:ln w="6350">
            <a:solidFill>
              <a:schemeClr val="accent4"/>
            </a:solidFill>
          </a:ln>
          <a:effectLst>
            <a:outerShdw blurRad="88900" dir="2700000" algn="ctr" rotWithShape="0">
              <a:srgbClr val="000000">
                <a:alpha val="50000"/>
              </a:srgbClr>
            </a:outerShdw>
          </a:effectLst>
        </p:spPr>
        <p:txBody>
          <a:bodyPr lIns="180000" rIns="180000" anchor="ctr"/>
          <a:lstStyle>
            <a:lvl1pPr>
              <a:lnSpc>
                <a:spcPct val="90000"/>
              </a:lnSpc>
              <a:spcAft>
                <a:spcPts val="0"/>
              </a:spcAft>
              <a:defRPr sz="2200" cap="all" baseline="0">
                <a:solidFill>
                  <a:schemeClr val="tx2"/>
                </a:solidFill>
              </a:defRPr>
            </a:lvl1pPr>
            <a:lvl2pPr>
              <a:spcBef>
                <a:spcPts val="20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</a:lstStyle>
          <a:p>
            <a:pPr lvl="0"/>
            <a:r>
              <a:rPr lang="fr-FR" dirty="0" smtClean="0"/>
              <a:t>Modifiez le text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5" name="ZoneTexte 34"/>
          <p:cNvSpPr txBox="1"/>
          <p:nvPr userDrawn="1"/>
        </p:nvSpPr>
        <p:spPr>
          <a:xfrm>
            <a:off x="135683" y="7130102"/>
            <a:ext cx="381084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er le </a:t>
            </a:r>
            <a:r>
              <a:rPr lang="fr-FR" sz="9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d de page </a:t>
            </a:r>
            <a:r>
              <a:rPr lang="fr-FR" sz="9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os diapositives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s l’onglet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tion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ns le groupe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x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-tête et 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ed de pag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puis saisissez le texte </a:t>
            </a:r>
            <a:b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 vous voulez souhaitez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à cocher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 pas afficher sur la diapositive </a:t>
            </a:r>
            <a:b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titre.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méro de diapositiv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ctivez la case 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e fixe</a:t>
            </a:r>
            <a: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lang="fr-FR" sz="9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fr-FR" sz="900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is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aisissez la date souhaitée.</a:t>
            </a:r>
          </a:p>
          <a:p>
            <a:pPr marL="228600" indent="-228600" algn="l" defTabSz="914400" rtl="0" eaLnBrk="1" latinLnBrk="0" hangingPunct="1">
              <a:spcBef>
                <a:spcPts val="200"/>
              </a:spcBef>
              <a:buAutoNum type="arabicPeriod"/>
            </a:pP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z sur </a:t>
            </a:r>
            <a:r>
              <a:rPr lang="fr-FR" sz="900" b="1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quer partout</a:t>
            </a:r>
            <a:r>
              <a:rPr lang="fr-FR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endParaRPr lang="fr-FR" sz="9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203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570000"/>
            <a:ext cx="9144000" cy="288000"/>
          </a:xfrm>
          <a:prstGeom prst="rect">
            <a:avLst/>
          </a:prstGeom>
          <a:solidFill>
            <a:srgbClr val="1A9EE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mtClean="0"/>
              <a:t>       </a:t>
            </a:r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57188" y="244807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57188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620000" y="6635456"/>
            <a:ext cx="1044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947990" y="6635456"/>
            <a:ext cx="4320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35683" y="6635456"/>
            <a:ext cx="270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628448" y="6408000"/>
            <a:ext cx="1112400" cy="45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792629" y="6544193"/>
            <a:ext cx="788690" cy="192363"/>
          </a:xfrm>
          <a:prstGeom prst="rect">
            <a:avLst/>
          </a:prstGeom>
        </p:spPr>
      </p:pic>
      <p:sp>
        <p:nvSpPr>
          <p:cNvPr id="11" name="Triangle rectangle 10"/>
          <p:cNvSpPr/>
          <p:nvPr/>
        </p:nvSpPr>
        <p:spPr>
          <a:xfrm flipH="1">
            <a:off x="7545648" y="6408000"/>
            <a:ext cx="82800" cy="162000"/>
          </a:xfrm>
          <a:prstGeom prst="rt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1628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63" r:id="rId4"/>
    <p:sldLayoutId id="2147483650" r:id="rId5"/>
    <p:sldLayoutId id="2147483714" r:id="rId6"/>
    <p:sldLayoutId id="2147483677" r:id="rId7"/>
    <p:sldLayoutId id="2147483669" r:id="rId8"/>
    <p:sldLayoutId id="2147483691" r:id="rId9"/>
    <p:sldLayoutId id="2147483697" r:id="rId10"/>
    <p:sldLayoutId id="2147483712" r:id="rId11"/>
    <p:sldLayoutId id="2147483693" r:id="rId12"/>
    <p:sldLayoutId id="2147483699" r:id="rId13"/>
    <p:sldLayoutId id="2147483654" r:id="rId14"/>
    <p:sldLayoutId id="2147483686" r:id="rId15"/>
    <p:sldLayoutId id="2147483665" r:id="rId16"/>
    <p:sldLayoutId id="2147483687" r:id="rId17"/>
    <p:sldLayoutId id="2147483666" r:id="rId18"/>
    <p:sldLayoutId id="2147483667" r:id="rId19"/>
    <p:sldLayoutId id="2147483668" r:id="rId20"/>
    <p:sldLayoutId id="2147483678" r:id="rId21"/>
    <p:sldLayoutId id="2147483672" r:id="rId22"/>
    <p:sldLayoutId id="2147483695" r:id="rId23"/>
    <p:sldLayoutId id="2147483673" r:id="rId24"/>
    <p:sldLayoutId id="2147483696" r:id="rId25"/>
    <p:sldLayoutId id="2147483743" r:id="rId26"/>
    <p:sldLayoutId id="2147483744" r:id="rId27"/>
    <p:sldLayoutId id="2147483683" r:id="rId28"/>
    <p:sldLayoutId id="2147483713" r:id="rId29"/>
    <p:sldLayoutId id="2147483684" r:id="rId30"/>
    <p:sldLayoutId id="2147483702" r:id="rId31"/>
    <p:sldLayoutId id="2147483747" r:id="rId3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3200" b="1" kern="1200" cap="all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33350" indent="-133350" algn="l" defTabSz="914400" rtl="0" eaLnBrk="1" latinLnBrk="0" hangingPunct="1">
        <a:lnSpc>
          <a:spcPct val="100000"/>
        </a:lnSpc>
        <a:spcBef>
          <a:spcPts val="200"/>
        </a:spcBef>
        <a:spcAft>
          <a:spcPts val="600"/>
        </a:spcAft>
        <a:buFont typeface="Arial"/>
        <a:buChar char="•"/>
        <a:defRPr sz="1600" b="1" kern="1200">
          <a:solidFill>
            <a:srgbClr val="00519E"/>
          </a:solidFill>
          <a:latin typeface="+mn-lt"/>
          <a:ea typeface="+mn-ea"/>
          <a:cs typeface="+mn-cs"/>
        </a:defRPr>
      </a:lvl3pPr>
      <a:lvl4pPr marL="133200" indent="-1332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entury Gothic" panose="020B0502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6567920"/>
            <a:ext cx="9144000" cy="288000"/>
          </a:xfrm>
          <a:prstGeom prst="rect">
            <a:avLst/>
          </a:prstGeom>
          <a:solidFill>
            <a:srgbClr val="05448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mtClean="0"/>
              <a:t>       </a:t>
            </a:r>
            <a:endParaRPr lang="fr-FR"/>
          </a:p>
        </p:txBody>
      </p:sp>
      <p:grpSp>
        <p:nvGrpSpPr>
          <p:cNvPr id="21" name="Groupe 20"/>
          <p:cNvGrpSpPr/>
          <p:nvPr/>
        </p:nvGrpSpPr>
        <p:grpSpPr>
          <a:xfrm>
            <a:off x="377284" y="6269736"/>
            <a:ext cx="1180054" cy="585788"/>
            <a:chOff x="377284" y="6269736"/>
            <a:chExt cx="1180054" cy="585788"/>
          </a:xfrm>
        </p:grpSpPr>
        <p:sp>
          <p:nvSpPr>
            <p:cNvPr id="20" name="Forme libre 19"/>
            <p:cNvSpPr>
              <a:spLocks/>
            </p:cNvSpPr>
            <p:nvPr userDrawn="1"/>
          </p:nvSpPr>
          <p:spPr bwMode="auto">
            <a:xfrm>
              <a:off x="377284" y="6269736"/>
              <a:ext cx="56104" cy="298184"/>
            </a:xfrm>
            <a:custGeom>
              <a:avLst/>
              <a:gdLst>
                <a:gd name="connsiteX0" fmla="*/ 56104 w 56104"/>
                <a:gd name="connsiteY0" fmla="*/ 0 h 298184"/>
                <a:gd name="connsiteX1" fmla="*/ 56104 w 56104"/>
                <a:gd name="connsiteY1" fmla="*/ 298184 h 298184"/>
                <a:gd name="connsiteX2" fmla="*/ 0 w 56104"/>
                <a:gd name="connsiteY2" fmla="*/ 298184 h 298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04" h="298184">
                  <a:moveTo>
                    <a:pt x="56104" y="0"/>
                  </a:moveTo>
                  <a:lnTo>
                    <a:pt x="56104" y="298184"/>
                  </a:lnTo>
                  <a:lnTo>
                    <a:pt x="0" y="298184"/>
                  </a:lnTo>
                  <a:close/>
                </a:path>
              </a:pathLst>
            </a:custGeom>
            <a:solidFill>
              <a:srgbClr val="B9B9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433388" y="6269736"/>
              <a:ext cx="1123950" cy="585788"/>
            </a:xfrm>
            <a:custGeom>
              <a:avLst/>
              <a:gdLst>
                <a:gd name="T0" fmla="*/ 0 w 1172"/>
                <a:gd name="T1" fmla="*/ 773 h 773"/>
                <a:gd name="T2" fmla="*/ 0 w 1172"/>
                <a:gd name="T3" fmla="*/ 773 h 773"/>
                <a:gd name="T4" fmla="*/ 1172 w 1172"/>
                <a:gd name="T5" fmla="*/ 773 h 773"/>
                <a:gd name="T6" fmla="*/ 1172 w 1172"/>
                <a:gd name="T7" fmla="*/ 0 h 773"/>
                <a:gd name="T8" fmla="*/ 0 w 1172"/>
                <a:gd name="T9" fmla="*/ 0 h 773"/>
                <a:gd name="T10" fmla="*/ 0 w 1172"/>
                <a:gd name="T11" fmla="*/ 773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2" h="773">
                  <a:moveTo>
                    <a:pt x="0" y="773"/>
                  </a:moveTo>
                  <a:lnTo>
                    <a:pt x="0" y="773"/>
                  </a:lnTo>
                  <a:lnTo>
                    <a:pt x="1172" y="773"/>
                  </a:lnTo>
                  <a:lnTo>
                    <a:pt x="1172" y="0"/>
                  </a:lnTo>
                  <a:lnTo>
                    <a:pt x="0" y="0"/>
                  </a:lnTo>
                  <a:lnTo>
                    <a:pt x="0" y="773"/>
                  </a:lnTo>
                  <a:close/>
                </a:path>
              </a:pathLst>
            </a:custGeom>
            <a:solidFill>
              <a:srgbClr val="F7F7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57188" y="244807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57188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8"/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620000" y="6635456"/>
            <a:ext cx="1044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947991" y="6635456"/>
            <a:ext cx="4320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35683" y="6635456"/>
            <a:ext cx="270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1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92" r:id="rId2"/>
    <p:sldLayoutId id="2147483698" r:id="rId3"/>
    <p:sldLayoutId id="2147483680" r:id="rId4"/>
    <p:sldLayoutId id="2147483694" r:id="rId5"/>
    <p:sldLayoutId id="2147483700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3200" b="1" kern="1200" cap="all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33350" indent="-133350" algn="l" defTabSz="914400" rtl="0" eaLnBrk="1" latinLnBrk="0" hangingPunct="1">
        <a:lnSpc>
          <a:spcPct val="100000"/>
        </a:lnSpc>
        <a:spcBef>
          <a:spcPts val="200"/>
        </a:spcBef>
        <a:spcAft>
          <a:spcPts val="600"/>
        </a:spcAft>
        <a:buFont typeface="Arial"/>
        <a:buChar char="•"/>
        <a:defRPr sz="1600" b="1" kern="1200">
          <a:solidFill>
            <a:srgbClr val="00519E"/>
          </a:solidFill>
          <a:latin typeface="+mn-lt"/>
          <a:ea typeface="+mn-ea"/>
          <a:cs typeface="+mn-cs"/>
        </a:defRPr>
      </a:lvl3pPr>
      <a:lvl4pPr marL="133200" indent="-1332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entury Gothic" panose="020B0502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13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423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6570000"/>
            <a:ext cx="9144000" cy="288000"/>
          </a:xfrm>
          <a:prstGeom prst="rect">
            <a:avLst/>
          </a:prstGeom>
          <a:solidFill>
            <a:srgbClr val="1A9EE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mtClean="0"/>
              <a:t>       </a:t>
            </a:r>
            <a:endParaRPr lang="fr-FR"/>
          </a:p>
        </p:txBody>
      </p:sp>
      <p:sp>
        <p:nvSpPr>
          <p:cNvPr id="14" name="Rectangle 13"/>
          <p:cNvSpPr/>
          <p:nvPr/>
        </p:nvSpPr>
        <p:spPr>
          <a:xfrm>
            <a:off x="7628448" y="6408000"/>
            <a:ext cx="1112400" cy="45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7792629" y="6544193"/>
            <a:ext cx="788690" cy="192363"/>
          </a:xfrm>
          <a:prstGeom prst="rect">
            <a:avLst/>
          </a:prstGeom>
        </p:spPr>
      </p:pic>
      <p:sp>
        <p:nvSpPr>
          <p:cNvPr id="19" name="Triangle rectangle 18"/>
          <p:cNvSpPr/>
          <p:nvPr/>
        </p:nvSpPr>
        <p:spPr>
          <a:xfrm flipH="1">
            <a:off x="7545648" y="6408000"/>
            <a:ext cx="82800" cy="162000"/>
          </a:xfrm>
          <a:prstGeom prst="rt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21" name="Groupe 20"/>
          <p:cNvGrpSpPr/>
          <p:nvPr/>
        </p:nvGrpSpPr>
        <p:grpSpPr>
          <a:xfrm>
            <a:off x="377284" y="6269736"/>
            <a:ext cx="1180054" cy="585788"/>
            <a:chOff x="377284" y="6269736"/>
            <a:chExt cx="1180054" cy="585788"/>
          </a:xfrm>
        </p:grpSpPr>
        <p:sp>
          <p:nvSpPr>
            <p:cNvPr id="20" name="Forme libre 19"/>
            <p:cNvSpPr>
              <a:spLocks/>
            </p:cNvSpPr>
            <p:nvPr userDrawn="1"/>
          </p:nvSpPr>
          <p:spPr bwMode="auto">
            <a:xfrm>
              <a:off x="377284" y="6269736"/>
              <a:ext cx="56104" cy="298184"/>
            </a:xfrm>
            <a:custGeom>
              <a:avLst/>
              <a:gdLst>
                <a:gd name="connsiteX0" fmla="*/ 56104 w 56104"/>
                <a:gd name="connsiteY0" fmla="*/ 0 h 298184"/>
                <a:gd name="connsiteX1" fmla="*/ 56104 w 56104"/>
                <a:gd name="connsiteY1" fmla="*/ 298184 h 298184"/>
                <a:gd name="connsiteX2" fmla="*/ 0 w 56104"/>
                <a:gd name="connsiteY2" fmla="*/ 298184 h 298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104" h="298184">
                  <a:moveTo>
                    <a:pt x="56104" y="0"/>
                  </a:moveTo>
                  <a:lnTo>
                    <a:pt x="56104" y="298184"/>
                  </a:lnTo>
                  <a:lnTo>
                    <a:pt x="0" y="298184"/>
                  </a:lnTo>
                  <a:close/>
                </a:path>
              </a:pathLst>
            </a:custGeom>
            <a:solidFill>
              <a:srgbClr val="B9B9B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/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433388" y="6269736"/>
              <a:ext cx="1123950" cy="585788"/>
            </a:xfrm>
            <a:custGeom>
              <a:avLst/>
              <a:gdLst>
                <a:gd name="T0" fmla="*/ 0 w 1172"/>
                <a:gd name="T1" fmla="*/ 773 h 773"/>
                <a:gd name="T2" fmla="*/ 0 w 1172"/>
                <a:gd name="T3" fmla="*/ 773 h 773"/>
                <a:gd name="T4" fmla="*/ 1172 w 1172"/>
                <a:gd name="T5" fmla="*/ 773 h 773"/>
                <a:gd name="T6" fmla="*/ 1172 w 1172"/>
                <a:gd name="T7" fmla="*/ 0 h 773"/>
                <a:gd name="T8" fmla="*/ 0 w 1172"/>
                <a:gd name="T9" fmla="*/ 0 h 773"/>
                <a:gd name="T10" fmla="*/ 0 w 1172"/>
                <a:gd name="T11" fmla="*/ 773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2" h="773">
                  <a:moveTo>
                    <a:pt x="0" y="773"/>
                  </a:moveTo>
                  <a:lnTo>
                    <a:pt x="0" y="773"/>
                  </a:lnTo>
                  <a:lnTo>
                    <a:pt x="1172" y="773"/>
                  </a:lnTo>
                  <a:lnTo>
                    <a:pt x="1172" y="0"/>
                  </a:lnTo>
                  <a:lnTo>
                    <a:pt x="0" y="0"/>
                  </a:lnTo>
                  <a:lnTo>
                    <a:pt x="0" y="773"/>
                  </a:lnTo>
                  <a:close/>
                </a:path>
              </a:pathLst>
            </a:custGeom>
            <a:solidFill>
              <a:srgbClr val="F7F7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57188" y="244807"/>
            <a:ext cx="82296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57188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8"/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620000" y="6635456"/>
            <a:ext cx="1044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Février 2015</a:t>
            </a:r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947991" y="6635456"/>
            <a:ext cx="4320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Présentation de STEF</a:t>
            </a:r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35683" y="6635456"/>
            <a:ext cx="270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820C4C64-9A91-4639-8F7B-712AFDBF147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11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45" r:id="rId23"/>
    <p:sldLayoutId id="2147483746" r:id="rId24"/>
    <p:sldLayoutId id="2147483739" r:id="rId25"/>
    <p:sldLayoutId id="2147483740" r:id="rId26"/>
    <p:sldLayoutId id="2147483741" r:id="rId27"/>
    <p:sldLayoutId id="2147483742" r:id="rId28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3200" b="1" kern="1200" cap="all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33350" indent="-1333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/>
        <a:buChar char="•"/>
        <a:defRPr sz="1600" b="1" kern="1200">
          <a:solidFill>
            <a:srgbClr val="00519E"/>
          </a:solidFill>
          <a:latin typeface="+mn-lt"/>
          <a:ea typeface="+mn-ea"/>
          <a:cs typeface="+mn-cs"/>
        </a:defRPr>
      </a:lvl3pPr>
      <a:lvl4pPr marL="133200" indent="-1332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entury Gothic" panose="020B0502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135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42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texte 5"/>
          <p:cNvSpPr>
            <a:spLocks noGrp="1"/>
          </p:cNvSpPr>
          <p:nvPr>
            <p:ph type="body" sz="quarter" idx="35"/>
          </p:nvPr>
        </p:nvSpPr>
        <p:spPr>
          <a:xfrm>
            <a:off x="6689682" y="2151906"/>
            <a:ext cx="1835052" cy="337310"/>
          </a:xfrm>
        </p:spPr>
        <p:txBody>
          <a:bodyPr/>
          <a:lstStyle/>
          <a:p>
            <a:r>
              <a:rPr lang="fr-FR" dirty="0" smtClean="0"/>
              <a:t>Avantages</a:t>
            </a:r>
            <a:endParaRPr lang="en-US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36"/>
          </p:nvPr>
        </p:nvSpPr>
        <p:spPr>
          <a:xfrm>
            <a:off x="3490159" y="2132856"/>
            <a:ext cx="1835052" cy="337310"/>
          </a:xfrm>
        </p:spPr>
        <p:txBody>
          <a:bodyPr/>
          <a:lstStyle/>
          <a:p>
            <a:r>
              <a:rPr lang="fr-FR" dirty="0" smtClean="0"/>
              <a:t>Caractéristiques 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4"/>
          </p:nvPr>
        </p:nvSpPr>
        <p:spPr>
          <a:xfrm>
            <a:off x="3190875" y="2480136"/>
            <a:ext cx="5773613" cy="3901192"/>
          </a:xfrm>
          <a:ln>
            <a:noFill/>
          </a:ln>
        </p:spPr>
        <p:txBody>
          <a:bodyPr/>
          <a:lstStyle/>
          <a:p>
            <a:pPr algn="ctr"/>
            <a:endParaRPr lang="fr-FR" sz="1800" dirty="0" smtClean="0"/>
          </a:p>
          <a:p>
            <a:pPr algn="ctr"/>
            <a:endParaRPr lang="fr-FR" sz="1800" dirty="0" smtClean="0"/>
          </a:p>
          <a:p>
            <a:pPr algn="ctr"/>
            <a:endParaRPr lang="fr-FR" sz="1800" dirty="0"/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3851" y="6649896"/>
            <a:ext cx="5638704" cy="138499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our plus </a:t>
            </a:r>
            <a:r>
              <a:rPr lang="en-US" dirty="0" err="1" smtClean="0">
                <a:solidFill>
                  <a:prstClr val="white"/>
                </a:solidFill>
              </a:rPr>
              <a:t>d’information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contactez</a:t>
            </a:r>
            <a:r>
              <a:rPr lang="en-US" dirty="0" smtClean="0">
                <a:solidFill>
                  <a:prstClr val="white"/>
                </a:solidFill>
              </a:rPr>
              <a:t>  nous </a:t>
            </a:r>
            <a:r>
              <a:rPr lang="en-US" dirty="0">
                <a:solidFill>
                  <a:prstClr val="white"/>
                </a:solidFill>
              </a:rPr>
              <a:t>: </a:t>
            </a:r>
            <a:r>
              <a:rPr lang="en-US" dirty="0" smtClean="0">
                <a:solidFill>
                  <a:prstClr val="white"/>
                </a:solidFill>
              </a:rPr>
              <a:t>STEF-TRP_DR-EST_METHODES@stef.com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3"/>
          </p:nvPr>
        </p:nvSpPr>
        <p:spPr>
          <a:xfrm>
            <a:off x="2845558" y="2457982"/>
            <a:ext cx="3642074" cy="3923346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marL="0" indent="0">
              <a:buNone/>
            </a:pPr>
            <a:endParaRPr lang="fr-FR" cap="all" dirty="0" smtClean="0"/>
          </a:p>
          <a:p>
            <a:pPr marL="131763" indent="-131763">
              <a:spcAft>
                <a:spcPts val="0"/>
              </a:spcAft>
              <a:buNone/>
            </a:pPr>
            <a:endParaRPr lang="fr-FR" sz="800" cap="all" dirty="0" smtClean="0"/>
          </a:p>
          <a:p>
            <a:pPr marL="131763" indent="-131763">
              <a:spcAft>
                <a:spcPts val="0"/>
              </a:spcAft>
              <a:buNone/>
            </a:pPr>
            <a:r>
              <a:rPr lang="fr-FR" cap="all" dirty="0" smtClean="0"/>
              <a:t>INTERFACE WEB</a:t>
            </a:r>
            <a:endParaRPr lang="fr-FR" cap="all" dirty="0" smtClean="0"/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Un numéro de fax = un service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Chaque utilisateur  visualise les informations de son service </a:t>
            </a:r>
            <a:endParaRPr lang="fr-FR" sz="1000" b="0" dirty="0" smtClean="0"/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Interface unique pour l’Emission et la Réception des FAX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Envoi des documents via une imprimante virtuelle</a:t>
            </a:r>
            <a:endParaRPr lang="fr-FR" sz="1000" b="0" dirty="0" smtClean="0"/>
          </a:p>
          <a:p>
            <a:pPr marL="131763" indent="-131763">
              <a:spcAft>
                <a:spcPts val="0"/>
              </a:spcAft>
              <a:buNone/>
            </a:pPr>
            <a:r>
              <a:rPr lang="fr-FR" sz="1100" b="0" dirty="0" smtClean="0"/>
              <a:t> </a:t>
            </a:r>
            <a:endParaRPr lang="fr-FR" b="0" dirty="0" smtClean="0"/>
          </a:p>
          <a:p>
            <a:pPr marL="131763" indent="-131763">
              <a:spcAft>
                <a:spcPts val="0"/>
              </a:spcAft>
              <a:buNone/>
            </a:pPr>
            <a:r>
              <a:rPr lang="fr-FR" cap="all" dirty="0" smtClean="0"/>
              <a:t>Visualisation </a:t>
            </a:r>
            <a:r>
              <a:rPr lang="fr-FR" cap="all" dirty="0"/>
              <a:t>des FAX </a:t>
            </a:r>
            <a:r>
              <a:rPr lang="fr-FR" cap="all" dirty="0" smtClean="0"/>
              <a:t>depuis</a:t>
            </a:r>
          </a:p>
          <a:p>
            <a:pPr marL="131763" indent="-131763">
              <a:spcAft>
                <a:spcPts val="0"/>
              </a:spcAft>
              <a:buNone/>
            </a:pPr>
            <a:r>
              <a:rPr lang="fr-FR" cap="all" dirty="0" smtClean="0"/>
              <a:t>son </a:t>
            </a:r>
            <a:r>
              <a:rPr lang="fr-FR" cap="all" dirty="0"/>
              <a:t>Poste de </a:t>
            </a:r>
            <a:r>
              <a:rPr lang="fr-FR" cap="all" dirty="0" smtClean="0"/>
              <a:t>travail</a:t>
            </a:r>
            <a:endParaRPr lang="fr-FR" sz="1200" cap="all" dirty="0" smtClean="0"/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Visualisation de l’utilisateur qui traite le fax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Archivage  des émissions / réception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Accusé d’émission </a:t>
            </a:r>
            <a:r>
              <a:rPr lang="fr-FR" sz="1000" b="0" dirty="0" smtClean="0"/>
              <a:t>avec l’aperçu de la première page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Gestion </a:t>
            </a:r>
            <a:r>
              <a:rPr lang="fr-FR" sz="1000" b="0" dirty="0" smtClean="0"/>
              <a:t>des alertes </a:t>
            </a:r>
            <a:r>
              <a:rPr lang="fr-FR" sz="1000" b="0" dirty="0" smtClean="0"/>
              <a:t>en cas de problème</a:t>
            </a:r>
          </a:p>
          <a:p>
            <a:pPr marL="85725" indent="-85725">
              <a:spcAft>
                <a:spcPts val="0"/>
              </a:spcAft>
            </a:pPr>
            <a:endParaRPr lang="fr-FR" sz="800" b="0" dirty="0" smtClean="0"/>
          </a:p>
          <a:p>
            <a:pPr marL="131763" indent="-131763">
              <a:spcAft>
                <a:spcPts val="0"/>
              </a:spcAft>
              <a:buNone/>
            </a:pPr>
            <a:r>
              <a:rPr lang="fr-FR" cap="all" dirty="0" smtClean="0"/>
              <a:t>Solution technique 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Analyse automatique des fax en réception</a:t>
            </a:r>
            <a:endParaRPr lang="fr-FR" sz="1000" b="0" dirty="0" smtClean="0"/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Envoi des confirmations d’</a:t>
            </a:r>
            <a:r>
              <a:rPr lang="fr-FR" sz="1000" b="0" dirty="0" err="1" smtClean="0"/>
              <a:t>affretement</a:t>
            </a:r>
            <a:r>
              <a:rPr lang="fr-FR" sz="1000" b="0" dirty="0" smtClean="0"/>
              <a:t> en automatique</a:t>
            </a:r>
          </a:p>
          <a:p>
            <a:pPr marL="85725" indent="-85725">
              <a:spcAft>
                <a:spcPts val="0"/>
              </a:spcAft>
            </a:pPr>
            <a:r>
              <a:rPr lang="fr-FR" sz="1000" b="0" dirty="0" smtClean="0"/>
              <a:t>Envoi des avis de souffrance depuis SCOP</a:t>
            </a:r>
            <a:endParaRPr lang="fr-FR" sz="1000" b="0" dirty="0"/>
          </a:p>
          <a:p>
            <a:pPr>
              <a:spcAft>
                <a:spcPts val="0"/>
              </a:spcAft>
            </a:pPr>
            <a:endParaRPr lang="fr-FR" sz="1000" b="0" dirty="0" smtClean="0"/>
          </a:p>
          <a:p>
            <a:pPr>
              <a:spcAft>
                <a:spcPts val="0"/>
              </a:spcAft>
            </a:pPr>
            <a:endParaRPr lang="fr-FR" sz="1200" b="0" dirty="0" smtClean="0"/>
          </a:p>
          <a:p>
            <a:pPr>
              <a:spcAft>
                <a:spcPts val="0"/>
              </a:spcAft>
            </a:pPr>
            <a:endParaRPr lang="fr-FR" sz="1200" b="0" dirty="0" smtClean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22924" y="200555"/>
            <a:ext cx="3376967" cy="1672907"/>
          </a:xfrm>
        </p:spPr>
        <p:txBody>
          <a:bodyPr/>
          <a:lstStyle/>
          <a:p>
            <a:r>
              <a:rPr lang="fr-FR" sz="2800" b="1" dirty="0" err="1" smtClean="0">
                <a:ea typeface="ＭＳ Ｐゴシック" pitchFamily="34" charset="-128"/>
              </a:rPr>
              <a:t>Hylafax</a:t>
            </a:r>
            <a:endParaRPr lang="fr-FR" sz="2800" b="1" dirty="0" smtClean="0">
              <a:ea typeface="ＭＳ Ｐゴシック" pitchFamily="34" charset="-128"/>
            </a:endParaRPr>
          </a:p>
          <a:p>
            <a:r>
              <a:rPr lang="fr-FR" altLang="fr-FR" sz="2000" dirty="0"/>
              <a:t>Outil de </a:t>
            </a:r>
            <a:r>
              <a:rPr lang="fr-FR" altLang="fr-FR" sz="1800" b="1" dirty="0" smtClean="0"/>
              <a:t>GESTION DES FAX INTEGRE</a:t>
            </a:r>
            <a:endParaRPr lang="fr-FR" altLang="fr-FR" sz="2400" dirty="0" smtClean="0"/>
          </a:p>
        </p:txBody>
      </p:sp>
      <p:grpSp>
        <p:nvGrpSpPr>
          <p:cNvPr id="43" name="Group 73"/>
          <p:cNvGrpSpPr/>
          <p:nvPr/>
        </p:nvGrpSpPr>
        <p:grpSpPr>
          <a:xfrm>
            <a:off x="6457310" y="5288014"/>
            <a:ext cx="2450241" cy="88900"/>
            <a:chOff x="5770277" y="4359423"/>
            <a:chExt cx="3115305" cy="88900"/>
          </a:xfrm>
        </p:grpSpPr>
        <p:cxnSp>
          <p:nvCxnSpPr>
            <p:cNvPr id="44" name="Connecteur droit 149"/>
            <p:cNvCxnSpPr/>
            <p:nvPr/>
          </p:nvCxnSpPr>
          <p:spPr bwMode="auto">
            <a:xfrm>
              <a:off x="5770277" y="4403873"/>
              <a:ext cx="3115305" cy="0"/>
            </a:xfrm>
            <a:prstGeom prst="line">
              <a:avLst/>
            </a:prstGeom>
            <a:solidFill>
              <a:schemeClr val="bg1"/>
            </a:solidFill>
            <a:ln w="381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57"/>
            <p:cNvSpPr/>
            <p:nvPr/>
          </p:nvSpPr>
          <p:spPr bwMode="auto">
            <a:xfrm>
              <a:off x="7274748" y="4359423"/>
              <a:ext cx="106363" cy="88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cxnSp>
        <p:nvCxnSpPr>
          <p:cNvPr id="60" name="Connecteur droit 30"/>
          <p:cNvCxnSpPr>
            <a:cxnSpLocks noChangeShapeType="1"/>
          </p:cNvCxnSpPr>
          <p:nvPr/>
        </p:nvCxnSpPr>
        <p:spPr bwMode="auto">
          <a:xfrm>
            <a:off x="3131840" y="3892154"/>
            <a:ext cx="2858474" cy="3047"/>
          </a:xfrm>
          <a:prstGeom prst="line">
            <a:avLst/>
          </a:prstGeom>
          <a:noFill/>
          <a:ln w="19050" algn="ctr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10" name="ZoneTexte 9"/>
          <p:cNvSpPr txBox="1"/>
          <p:nvPr/>
        </p:nvSpPr>
        <p:spPr>
          <a:xfrm>
            <a:off x="6472524" y="2494347"/>
            <a:ext cx="2476856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fr-FR" b="1" dirty="0">
              <a:solidFill>
                <a:prstClr val="white"/>
              </a:solidFill>
            </a:endParaRPr>
          </a:p>
          <a:p>
            <a:pPr algn="ctr"/>
            <a:r>
              <a:rPr lang="fr-FR" sz="1600" b="1" dirty="0" smtClean="0">
                <a:solidFill>
                  <a:prstClr val="white"/>
                </a:solidFill>
              </a:rPr>
              <a:t>Partage </a:t>
            </a:r>
            <a:r>
              <a:rPr lang="fr-FR" sz="1600" dirty="0" smtClean="0">
                <a:solidFill>
                  <a:prstClr val="white"/>
                </a:solidFill>
              </a:rPr>
              <a:t>de l’information avec</a:t>
            </a:r>
            <a:r>
              <a:rPr lang="fr-FR" sz="1600" b="1" dirty="0" smtClean="0">
                <a:solidFill>
                  <a:prstClr val="white"/>
                </a:solidFill>
              </a:rPr>
              <a:t> </a:t>
            </a:r>
            <a:r>
              <a:rPr lang="fr-FR" sz="1600" b="1" dirty="0">
                <a:solidFill>
                  <a:prstClr val="white"/>
                </a:solidFill>
              </a:rPr>
              <a:t>une fiabilité </a:t>
            </a:r>
            <a:r>
              <a:rPr lang="fr-FR" sz="1600" dirty="0">
                <a:solidFill>
                  <a:prstClr val="white"/>
                </a:solidFill>
              </a:rPr>
              <a:t>renforcée </a:t>
            </a:r>
          </a:p>
          <a:p>
            <a:pPr algn="ctr"/>
            <a:endParaRPr lang="fr-FR" sz="1600" b="1" dirty="0">
              <a:solidFill>
                <a:prstClr val="white"/>
              </a:solidFill>
            </a:endParaRPr>
          </a:p>
          <a:p>
            <a:pPr algn="ctr"/>
            <a:endParaRPr lang="fr-FR" b="1" dirty="0">
              <a:solidFill>
                <a:prstClr val="white"/>
              </a:solidFill>
            </a:endParaRPr>
          </a:p>
          <a:p>
            <a:pPr algn="ctr"/>
            <a:r>
              <a:rPr lang="fr-FR" sz="1600" b="1" dirty="0" err="1" smtClean="0">
                <a:solidFill>
                  <a:prstClr val="white"/>
                </a:solidFill>
              </a:rPr>
              <a:t>Tracabilité</a:t>
            </a:r>
            <a:endParaRPr lang="fr-FR" sz="1600" b="1" dirty="0">
              <a:solidFill>
                <a:prstClr val="white"/>
              </a:solidFill>
            </a:endParaRPr>
          </a:p>
          <a:p>
            <a:pPr algn="ctr"/>
            <a:r>
              <a:rPr lang="fr-FR" sz="1200" dirty="0">
                <a:solidFill>
                  <a:prstClr val="white"/>
                </a:solidFill>
              </a:rPr>
              <a:t>sur l’ensemble des évènements 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6804403" y="5406703"/>
            <a:ext cx="184331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600" b="1" dirty="0" smtClean="0">
                <a:solidFill>
                  <a:prstClr val="white"/>
                </a:solidFill>
              </a:rPr>
              <a:t>Interaction</a:t>
            </a:r>
            <a:endParaRPr lang="fr-FR" sz="1600" b="1" dirty="0">
              <a:solidFill>
                <a:prstClr val="white"/>
              </a:solidFill>
            </a:endParaRPr>
          </a:p>
          <a:p>
            <a:pPr algn="ctr"/>
            <a:r>
              <a:rPr lang="fr-FR" sz="1200" dirty="0" smtClean="0">
                <a:solidFill>
                  <a:prstClr val="white"/>
                </a:solidFill>
              </a:rPr>
              <a:t>Avec nos applicatifs métier</a:t>
            </a:r>
            <a:endParaRPr lang="fr-FR" sz="1200" dirty="0">
              <a:solidFill>
                <a:prstClr val="white"/>
              </a:solidFill>
            </a:endParaRPr>
          </a:p>
        </p:txBody>
      </p:sp>
      <p:sp>
        <p:nvSpPr>
          <p:cNvPr id="11" name="Forme libre 10"/>
          <p:cNvSpPr/>
          <p:nvPr/>
        </p:nvSpPr>
        <p:spPr>
          <a:xfrm>
            <a:off x="443905" y="2670477"/>
            <a:ext cx="1019332" cy="365166"/>
          </a:xfrm>
          <a:custGeom>
            <a:avLst/>
            <a:gdLst>
              <a:gd name="connsiteX0" fmla="*/ 0 w 1019332"/>
              <a:gd name="connsiteY0" fmla="*/ 319682 h 365166"/>
              <a:gd name="connsiteX1" fmla="*/ 571500 w 1019332"/>
              <a:gd name="connsiteY1" fmla="*/ 338732 h 365166"/>
              <a:gd name="connsiteX2" fmla="*/ 1009650 w 1019332"/>
              <a:gd name="connsiteY2" fmla="*/ 5357 h 365166"/>
              <a:gd name="connsiteX3" fmla="*/ 866775 w 1019332"/>
              <a:gd name="connsiteY3" fmla="*/ 138707 h 365166"/>
              <a:gd name="connsiteX4" fmla="*/ 771525 w 1019332"/>
              <a:gd name="connsiteY4" fmla="*/ 214907 h 365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9332" h="365166">
                <a:moveTo>
                  <a:pt x="0" y="319682"/>
                </a:moveTo>
                <a:cubicBezTo>
                  <a:pt x="201612" y="355400"/>
                  <a:pt x="403225" y="391119"/>
                  <a:pt x="571500" y="338732"/>
                </a:cubicBezTo>
                <a:cubicBezTo>
                  <a:pt x="739775" y="286345"/>
                  <a:pt x="960437" y="38695"/>
                  <a:pt x="1009650" y="5357"/>
                </a:cubicBezTo>
                <a:cubicBezTo>
                  <a:pt x="1058863" y="-27981"/>
                  <a:pt x="906462" y="103782"/>
                  <a:pt x="866775" y="138707"/>
                </a:cubicBezTo>
                <a:cubicBezTo>
                  <a:pt x="827088" y="173632"/>
                  <a:pt x="777875" y="213319"/>
                  <a:pt x="771525" y="21490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Organigramme : Données 14"/>
          <p:cNvSpPr/>
          <p:nvPr/>
        </p:nvSpPr>
        <p:spPr>
          <a:xfrm>
            <a:off x="1463237" y="3338537"/>
            <a:ext cx="1108028" cy="342946"/>
          </a:xfrm>
          <a:prstGeom prst="flowChartInputOutpu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>
                <a:solidFill>
                  <a:prstClr val="white"/>
                </a:solidFill>
              </a:rPr>
              <a:t>TMS  STEF</a:t>
            </a:r>
            <a:endParaRPr lang="en-GB" sz="1050" b="1" dirty="0">
              <a:solidFill>
                <a:prstClr val="white"/>
              </a:solidFill>
            </a:endParaRPr>
          </a:p>
        </p:txBody>
      </p:sp>
      <p:cxnSp>
        <p:nvCxnSpPr>
          <p:cNvPr id="59" name="Connecteur droit 30"/>
          <p:cNvCxnSpPr>
            <a:cxnSpLocks noChangeShapeType="1"/>
          </p:cNvCxnSpPr>
          <p:nvPr/>
        </p:nvCxnSpPr>
        <p:spPr bwMode="auto">
          <a:xfrm>
            <a:off x="3131840" y="5260973"/>
            <a:ext cx="2858474" cy="0"/>
          </a:xfrm>
          <a:prstGeom prst="line">
            <a:avLst/>
          </a:prstGeom>
          <a:noFill/>
          <a:ln w="19050" algn="ctr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9" name="Rectangle 8"/>
          <p:cNvSpPr/>
          <p:nvPr/>
        </p:nvSpPr>
        <p:spPr>
          <a:xfrm>
            <a:off x="3779912" y="1700808"/>
            <a:ext cx="36004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37" name="Group 73"/>
          <p:cNvGrpSpPr/>
          <p:nvPr/>
        </p:nvGrpSpPr>
        <p:grpSpPr>
          <a:xfrm>
            <a:off x="6428792" y="3764513"/>
            <a:ext cx="2450241" cy="88900"/>
            <a:chOff x="5770277" y="4359423"/>
            <a:chExt cx="3115305" cy="88900"/>
          </a:xfrm>
        </p:grpSpPr>
        <p:cxnSp>
          <p:nvCxnSpPr>
            <p:cNvPr id="38" name="Connecteur droit 149"/>
            <p:cNvCxnSpPr/>
            <p:nvPr/>
          </p:nvCxnSpPr>
          <p:spPr bwMode="auto">
            <a:xfrm>
              <a:off x="5770277" y="4403873"/>
              <a:ext cx="3115305" cy="0"/>
            </a:xfrm>
            <a:prstGeom prst="line">
              <a:avLst/>
            </a:prstGeom>
            <a:solidFill>
              <a:schemeClr val="bg1"/>
            </a:solidFill>
            <a:ln w="381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57"/>
            <p:cNvSpPr/>
            <p:nvPr/>
          </p:nvSpPr>
          <p:spPr bwMode="auto">
            <a:xfrm>
              <a:off x="7274748" y="4359423"/>
              <a:ext cx="106363" cy="889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732051" y="2581981"/>
            <a:ext cx="807577" cy="4643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prstClr val="white"/>
                </a:solidFill>
              </a:rPr>
              <a:t>Client </a:t>
            </a:r>
            <a:endParaRPr lang="en-GB" sz="1200" dirty="0">
              <a:solidFill>
                <a:prstClr val="white"/>
              </a:solidFill>
            </a:endParaRPr>
          </a:p>
        </p:txBody>
      </p:sp>
      <p:cxnSp>
        <p:nvCxnSpPr>
          <p:cNvPr id="16" name="Connecteur droit avec flèche 15"/>
          <p:cNvCxnSpPr>
            <a:stCxn id="13" idx="1"/>
          </p:cNvCxnSpPr>
          <p:nvPr/>
        </p:nvCxnSpPr>
        <p:spPr>
          <a:xfrm flipH="1">
            <a:off x="1209415" y="2814168"/>
            <a:ext cx="522636" cy="14327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e 25"/>
          <p:cNvGrpSpPr/>
          <p:nvPr/>
        </p:nvGrpSpPr>
        <p:grpSpPr>
          <a:xfrm>
            <a:off x="4797188" y="0"/>
            <a:ext cx="4346812" cy="1016758"/>
            <a:chOff x="4797188" y="0"/>
            <a:chExt cx="4346812" cy="1016758"/>
          </a:xfrm>
        </p:grpSpPr>
        <p:sp>
          <p:nvSpPr>
            <p:cNvPr id="23" name="Rectangle 22"/>
            <p:cNvSpPr/>
            <p:nvPr/>
          </p:nvSpPr>
          <p:spPr>
            <a:xfrm>
              <a:off x="4797188" y="0"/>
              <a:ext cx="4346812" cy="101675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6071933" y="262844"/>
              <a:ext cx="272285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1200" b="1" dirty="0" smtClean="0">
                  <a:solidFill>
                    <a:srgbClr val="00519E"/>
                  </a:solidFill>
                </a:rPr>
                <a:t>Objectif zéro papier avec une gestion dématérialisée des FAX en émission et en réception.</a:t>
              </a:r>
              <a:endParaRPr lang="en-GB" sz="1200" b="1" dirty="0">
                <a:solidFill>
                  <a:srgbClr val="00519E"/>
                </a:solidFill>
              </a:endParaRPr>
            </a:p>
          </p:txBody>
        </p:sp>
        <p:sp>
          <p:nvSpPr>
            <p:cNvPr id="49" name="Freeform 7"/>
            <p:cNvSpPr>
              <a:spLocks noEditPoints="1"/>
            </p:cNvSpPr>
            <p:nvPr/>
          </p:nvSpPr>
          <p:spPr bwMode="auto">
            <a:xfrm>
              <a:off x="5661327" y="109200"/>
              <a:ext cx="331228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  <p:sp>
          <p:nvSpPr>
            <p:cNvPr id="50" name="Freeform 7"/>
            <p:cNvSpPr>
              <a:spLocks noEditPoints="1"/>
            </p:cNvSpPr>
            <p:nvPr/>
          </p:nvSpPr>
          <p:spPr bwMode="auto">
            <a:xfrm flipH="1">
              <a:off x="8618154" y="642890"/>
              <a:ext cx="331226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9" y="4116288"/>
            <a:ext cx="2952750" cy="13335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328" y="2640676"/>
            <a:ext cx="920087" cy="920087"/>
          </a:xfrm>
          <a:prstGeom prst="rect">
            <a:avLst/>
          </a:prstGeom>
        </p:spPr>
      </p:pic>
      <p:cxnSp>
        <p:nvCxnSpPr>
          <p:cNvPr id="41" name="Connecteur droit avec flèche 40"/>
          <p:cNvCxnSpPr>
            <a:stCxn id="15" idx="2"/>
          </p:cNvCxnSpPr>
          <p:nvPr/>
        </p:nvCxnSpPr>
        <p:spPr>
          <a:xfrm flipH="1" flipV="1">
            <a:off x="1209415" y="3305365"/>
            <a:ext cx="364625" cy="204645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Image 4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963" y="166364"/>
            <a:ext cx="673212" cy="673212"/>
          </a:xfrm>
          <a:prstGeom prst="rect">
            <a:avLst/>
          </a:prstGeom>
        </p:spPr>
      </p:pic>
      <p:pic>
        <p:nvPicPr>
          <p:cNvPr id="25" name="Imag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9" y="6601019"/>
            <a:ext cx="309782" cy="23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0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154532" y="189136"/>
            <a:ext cx="3782847" cy="1672907"/>
          </a:xfrm>
        </p:spPr>
        <p:txBody>
          <a:bodyPr/>
          <a:lstStyle/>
          <a:p>
            <a:r>
              <a:rPr lang="fr-FR" dirty="0" smtClean="0"/>
              <a:t>ECRAN</a:t>
            </a:r>
          </a:p>
          <a:p>
            <a:r>
              <a:rPr lang="fr-FR" dirty="0" smtClean="0"/>
              <a:t>RECEPTION</a:t>
            </a: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19" y="1301944"/>
            <a:ext cx="8800870" cy="45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3851" y="6649896"/>
            <a:ext cx="5638704" cy="138499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our plus </a:t>
            </a:r>
            <a:r>
              <a:rPr lang="en-US" dirty="0" err="1" smtClean="0">
                <a:solidFill>
                  <a:prstClr val="white"/>
                </a:solidFill>
              </a:rPr>
              <a:t>d’information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contactez</a:t>
            </a:r>
            <a:r>
              <a:rPr lang="en-US" dirty="0" smtClean="0">
                <a:solidFill>
                  <a:prstClr val="white"/>
                </a:solidFill>
              </a:rPr>
              <a:t>  nous </a:t>
            </a:r>
            <a:r>
              <a:rPr lang="en-US" dirty="0">
                <a:solidFill>
                  <a:prstClr val="white"/>
                </a:solidFill>
              </a:rPr>
              <a:t>: </a:t>
            </a:r>
            <a:r>
              <a:rPr lang="en-US" dirty="0" smtClean="0">
                <a:solidFill>
                  <a:prstClr val="white"/>
                </a:solidFill>
              </a:rPr>
              <a:t>STEF-TRP_DR-EST_METHODES@stef.com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9" y="6601019"/>
            <a:ext cx="309782" cy="236254"/>
          </a:xfrm>
          <a:prstGeom prst="rect">
            <a:avLst/>
          </a:prstGeom>
        </p:spPr>
      </p:pic>
      <p:grpSp>
        <p:nvGrpSpPr>
          <p:cNvPr id="18" name="Groupe 17"/>
          <p:cNvGrpSpPr/>
          <p:nvPr/>
        </p:nvGrpSpPr>
        <p:grpSpPr>
          <a:xfrm>
            <a:off x="4797188" y="0"/>
            <a:ext cx="4346812" cy="1016758"/>
            <a:chOff x="4797188" y="0"/>
            <a:chExt cx="4346812" cy="1016758"/>
          </a:xfrm>
        </p:grpSpPr>
        <p:sp>
          <p:nvSpPr>
            <p:cNvPr id="19" name="Rectangle 18"/>
            <p:cNvSpPr/>
            <p:nvPr/>
          </p:nvSpPr>
          <p:spPr>
            <a:xfrm>
              <a:off x="4797188" y="0"/>
              <a:ext cx="4346812" cy="101675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6071933" y="262844"/>
              <a:ext cx="272285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1200" b="1" dirty="0" smtClean="0">
                  <a:solidFill>
                    <a:srgbClr val="00519E"/>
                  </a:solidFill>
                </a:rPr>
                <a:t>Objectif zéro papier avec une gestion dématérialisée des FAX en émission et en réception.</a:t>
              </a:r>
              <a:endParaRPr lang="en-GB" sz="1200" b="1" dirty="0">
                <a:solidFill>
                  <a:srgbClr val="00519E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5661327" y="109200"/>
              <a:ext cx="331228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 flipH="1">
              <a:off x="8618154" y="642890"/>
              <a:ext cx="331226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42756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154532" y="189136"/>
            <a:ext cx="3782847" cy="1672907"/>
          </a:xfrm>
        </p:spPr>
        <p:txBody>
          <a:bodyPr/>
          <a:lstStyle/>
          <a:p>
            <a:r>
              <a:rPr lang="fr-FR" dirty="0" smtClean="0"/>
              <a:t>Ecran</a:t>
            </a:r>
          </a:p>
          <a:p>
            <a:r>
              <a:rPr lang="fr-FR" dirty="0" smtClean="0"/>
              <a:t>EMISSION</a:t>
            </a:r>
            <a:endParaRPr lang="fr-FR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23" y="1446910"/>
            <a:ext cx="8670526" cy="4450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3851" y="6649896"/>
            <a:ext cx="5638704" cy="138499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our plus </a:t>
            </a:r>
            <a:r>
              <a:rPr lang="en-US" dirty="0" err="1" smtClean="0">
                <a:solidFill>
                  <a:prstClr val="white"/>
                </a:solidFill>
              </a:rPr>
              <a:t>d’information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contactez</a:t>
            </a:r>
            <a:r>
              <a:rPr lang="en-US" dirty="0" smtClean="0">
                <a:solidFill>
                  <a:prstClr val="white"/>
                </a:solidFill>
              </a:rPr>
              <a:t>  nous </a:t>
            </a:r>
            <a:r>
              <a:rPr lang="en-US" dirty="0">
                <a:solidFill>
                  <a:prstClr val="white"/>
                </a:solidFill>
              </a:rPr>
              <a:t>: </a:t>
            </a:r>
            <a:r>
              <a:rPr lang="en-US" dirty="0" smtClean="0">
                <a:solidFill>
                  <a:prstClr val="white"/>
                </a:solidFill>
              </a:rPr>
              <a:t>STEF-TRP_DR-EST_METHODES@stef.com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9" y="6601019"/>
            <a:ext cx="309782" cy="236254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4797188" y="0"/>
            <a:ext cx="4346812" cy="1016758"/>
            <a:chOff x="4797188" y="0"/>
            <a:chExt cx="4346812" cy="1016758"/>
          </a:xfrm>
        </p:grpSpPr>
        <p:sp>
          <p:nvSpPr>
            <p:cNvPr id="14" name="Rectangle 13"/>
            <p:cNvSpPr/>
            <p:nvPr/>
          </p:nvSpPr>
          <p:spPr>
            <a:xfrm>
              <a:off x="4797188" y="0"/>
              <a:ext cx="4346812" cy="101675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6071933" y="262844"/>
              <a:ext cx="272285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1200" b="1" dirty="0" smtClean="0">
                  <a:solidFill>
                    <a:srgbClr val="00519E"/>
                  </a:solidFill>
                </a:rPr>
                <a:t>Objectif zéro papier avec une gestion dématérialisée des FAX en émission et en réception.</a:t>
              </a:r>
              <a:endParaRPr lang="en-GB" sz="1200" b="1" dirty="0">
                <a:solidFill>
                  <a:srgbClr val="00519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/>
          </p:nvSpPr>
          <p:spPr bwMode="auto">
            <a:xfrm>
              <a:off x="5661327" y="109200"/>
              <a:ext cx="331228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 flipH="1">
              <a:off x="8618154" y="642890"/>
              <a:ext cx="331226" cy="307287"/>
            </a:xfrm>
            <a:custGeom>
              <a:avLst/>
              <a:gdLst/>
              <a:ahLst/>
              <a:cxnLst>
                <a:cxn ang="0">
                  <a:pos x="106" y="115"/>
                </a:cxn>
                <a:cxn ang="0">
                  <a:pos x="54" y="115"/>
                </a:cxn>
                <a:cxn ang="0">
                  <a:pos x="115" y="226"/>
                </a:cxn>
                <a:cxn ang="0">
                  <a:pos x="91" y="266"/>
                </a:cxn>
                <a:cxn ang="0">
                  <a:pos x="19" y="203"/>
                </a:cxn>
                <a:cxn ang="0">
                  <a:pos x="0" y="91"/>
                </a:cxn>
                <a:cxn ang="0">
                  <a:pos x="0" y="0"/>
                </a:cxn>
                <a:cxn ang="0">
                  <a:pos x="106" y="0"/>
                </a:cxn>
                <a:cxn ang="0">
                  <a:pos x="106" y="115"/>
                </a:cxn>
                <a:cxn ang="0">
                  <a:pos x="278" y="115"/>
                </a:cxn>
                <a:cxn ang="0">
                  <a:pos x="226" y="115"/>
                </a:cxn>
                <a:cxn ang="0">
                  <a:pos x="287" y="226"/>
                </a:cxn>
                <a:cxn ang="0">
                  <a:pos x="263" y="266"/>
                </a:cxn>
                <a:cxn ang="0">
                  <a:pos x="191" y="203"/>
                </a:cxn>
                <a:cxn ang="0">
                  <a:pos x="171" y="91"/>
                </a:cxn>
                <a:cxn ang="0">
                  <a:pos x="171" y="0"/>
                </a:cxn>
                <a:cxn ang="0">
                  <a:pos x="278" y="0"/>
                </a:cxn>
                <a:cxn ang="0">
                  <a:pos x="278" y="115"/>
                </a:cxn>
              </a:cxnLst>
              <a:rect l="0" t="0" r="r" b="b"/>
              <a:pathLst>
                <a:path w="287" h="266">
                  <a:moveTo>
                    <a:pt x="106" y="115"/>
                  </a:moveTo>
                  <a:cubicBezTo>
                    <a:pt x="54" y="115"/>
                    <a:pt x="54" y="115"/>
                    <a:pt x="54" y="115"/>
                  </a:cubicBezTo>
                  <a:cubicBezTo>
                    <a:pt x="55" y="173"/>
                    <a:pt x="75" y="210"/>
                    <a:pt x="115" y="226"/>
                  </a:cubicBezTo>
                  <a:cubicBezTo>
                    <a:pt x="91" y="266"/>
                    <a:pt x="91" y="266"/>
                    <a:pt x="91" y="266"/>
                  </a:cubicBezTo>
                  <a:cubicBezTo>
                    <a:pt x="57" y="250"/>
                    <a:pt x="33" y="229"/>
                    <a:pt x="19" y="203"/>
                  </a:cubicBezTo>
                  <a:cubicBezTo>
                    <a:pt x="6" y="177"/>
                    <a:pt x="0" y="139"/>
                    <a:pt x="0" y="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15"/>
                  </a:lnTo>
                  <a:close/>
                  <a:moveTo>
                    <a:pt x="278" y="115"/>
                  </a:moveTo>
                  <a:cubicBezTo>
                    <a:pt x="226" y="115"/>
                    <a:pt x="226" y="115"/>
                    <a:pt x="226" y="115"/>
                  </a:cubicBezTo>
                  <a:cubicBezTo>
                    <a:pt x="227" y="173"/>
                    <a:pt x="247" y="210"/>
                    <a:pt x="287" y="226"/>
                  </a:cubicBezTo>
                  <a:cubicBezTo>
                    <a:pt x="263" y="266"/>
                    <a:pt x="263" y="266"/>
                    <a:pt x="263" y="266"/>
                  </a:cubicBezTo>
                  <a:cubicBezTo>
                    <a:pt x="228" y="250"/>
                    <a:pt x="205" y="229"/>
                    <a:pt x="191" y="203"/>
                  </a:cubicBezTo>
                  <a:cubicBezTo>
                    <a:pt x="178" y="177"/>
                    <a:pt x="171" y="139"/>
                    <a:pt x="171" y="91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78" y="0"/>
                    <a:pt x="278" y="0"/>
                    <a:pt x="278" y="0"/>
                  </a:cubicBezTo>
                  <a:lnTo>
                    <a:pt x="278" y="11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6822" tIns="48401" rIns="96822" bIns="48401" numCol="1" anchor="t" anchorCtr="0" compatLnSpc="1">
              <a:prstTxWarp prst="textNoShape">
                <a:avLst/>
              </a:prstTxWarp>
            </a:bodyPr>
            <a:lstStyle/>
            <a:p>
              <a:pPr defTabSz="1014057"/>
              <a:endParaRPr lang="fr-FR" sz="3000">
                <a:solidFill>
                  <a:srgbClr val="00519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0773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eb667d6e58e335a637237693c33c87b28cf6162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STEF">
  <a:themeElements>
    <a:clrScheme name="Stef">
      <a:dk1>
        <a:sysClr val="windowText" lastClr="000000"/>
      </a:dk1>
      <a:lt1>
        <a:sysClr val="window" lastClr="FFFFFF"/>
      </a:lt1>
      <a:dk2>
        <a:srgbClr val="00519E"/>
      </a:dk2>
      <a:lt2>
        <a:srgbClr val="009EE0"/>
      </a:lt2>
      <a:accent1>
        <a:srgbClr val="00519E"/>
      </a:accent1>
      <a:accent2>
        <a:srgbClr val="009EE0"/>
      </a:accent2>
      <a:accent3>
        <a:srgbClr val="054487"/>
      </a:accent3>
      <a:accent4>
        <a:srgbClr val="9D9D9C"/>
      </a:accent4>
      <a:accent5>
        <a:srgbClr val="E3E3E3"/>
      </a:accent5>
      <a:accent6>
        <a:srgbClr val="FFFFFF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CLIENT">
  <a:themeElements>
    <a:clrScheme name="Stef">
      <a:dk1>
        <a:sysClr val="windowText" lastClr="000000"/>
      </a:dk1>
      <a:lt1>
        <a:sysClr val="window" lastClr="FFFFFF"/>
      </a:lt1>
      <a:dk2>
        <a:srgbClr val="00519E"/>
      </a:dk2>
      <a:lt2>
        <a:srgbClr val="009EE0"/>
      </a:lt2>
      <a:accent1>
        <a:srgbClr val="00519E"/>
      </a:accent1>
      <a:accent2>
        <a:srgbClr val="009EE0"/>
      </a:accent2>
      <a:accent3>
        <a:srgbClr val="054487"/>
      </a:accent3>
      <a:accent4>
        <a:srgbClr val="9D9D9C"/>
      </a:accent4>
      <a:accent5>
        <a:srgbClr val="E3E3E3"/>
      </a:accent5>
      <a:accent6>
        <a:srgbClr val="FFFFFF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00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STEF + CLIENT">
  <a:themeElements>
    <a:clrScheme name="Stef">
      <a:dk1>
        <a:sysClr val="windowText" lastClr="000000"/>
      </a:dk1>
      <a:lt1>
        <a:sysClr val="window" lastClr="FFFFFF"/>
      </a:lt1>
      <a:dk2>
        <a:srgbClr val="00519E"/>
      </a:dk2>
      <a:lt2>
        <a:srgbClr val="009EE0"/>
      </a:lt2>
      <a:accent1>
        <a:srgbClr val="00519E"/>
      </a:accent1>
      <a:accent2>
        <a:srgbClr val="009EE0"/>
      </a:accent2>
      <a:accent3>
        <a:srgbClr val="054487"/>
      </a:accent3>
      <a:accent4>
        <a:srgbClr val="9D9D9C"/>
      </a:accent4>
      <a:accent5>
        <a:srgbClr val="E3E3E3"/>
      </a:accent5>
      <a:accent6>
        <a:srgbClr val="FFFFFF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00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9bcde5c-6864-43d7-a508-7f350f236002">PUWJHCUERXS6-28-114</_dlc_DocId>
    <_dlc_DocIdUrl xmlns="59bcde5c-6864-43d7-a508-7f350f236002">
      <Url>http://mystef.com/COMMUNICATION/_layouts/15/DocIdRedir.aspx?ID=PUWJHCUERXS6-28-114</Url>
      <Description>PUWJHCUERXS6-28-114</Description>
    </_dlc_DocIdUrl>
    <JobsKeywordsTaxHTField0 xmlns="f6c23d9d-0681-4c43-9365-48f7dca804a1" xsi:nil="true"/>
    <CustomDescription xmlns="f6c23d9d-0681-4c43-9365-48f7dca804a1" xsi:nil="true"/>
    <ActivationDate xmlns="f6c23d9d-0681-4c43-9365-48f7dca804a1">2015-04-01T09:10:00+00:00</ActivationDate>
    <TargetLanguage xmlns="f6c23d9d-0681-4c43-9365-48f7dca804a1">
      <Value>1036 - Français</Value>
      <Value>1033 - English</Value>
      <Value>1031 - Deutsch</Value>
      <Value>3082 - Español</Value>
      <Value>2070 - Português</Value>
      <Value>1040 - Italiano</Value>
      <Value>1043 - Nederlands</Value>
    </TargetLanguage>
    <Authors xmlns="f6c23d9d-0681-4c43-9365-48f7dca804a1">
      <UserInfo>
        <DisplayName/>
        <AccountId xsi:nil="true"/>
        <AccountType/>
      </UserInfo>
    </Authors>
    <Audience xmlns="http://schemas.microsoft.com/sharepoint/v3" xsi:nil="true"/>
    <DocumentationKeywordsTaxHTField0 xmlns="f6c23d9d-0681-4c43-9365-48f7dca804a1" xsi:nil="true"/>
    <h24ae6008da04eb4a2cc4499773dd6ba xmlns="f6c23d9d-0681-4c43-9365-48f7dca804a1" xsi:nil="true"/>
    <TaxCatchAll xmlns="04212bd0-3e3d-4bc6-b67f-89a8d7bc3c0e"/>
    <kc3883ccd4c34807bff9a98a47ab0011 xmlns="f6c23d9d-0681-4c43-9365-48f7dca804a1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ation (fichier)" ma:contentTypeID="0x010100B438AA258D6244EF8D403716D8FBD38800279E2B6CD32D4690809825BC19D94C1300CA1803450E366F4C820AD6CA6B8B6CFC" ma:contentTypeVersion="14" ma:contentTypeDescription="Permet la gestion de fiches documentaires" ma:contentTypeScope="" ma:versionID="77429b127f7d79825b1cfd10c2ddb9f4">
  <xsd:schema xmlns:xsd="http://www.w3.org/2001/XMLSchema" xmlns:xs="http://www.w3.org/2001/XMLSchema" xmlns:p="http://schemas.microsoft.com/office/2006/metadata/properties" xmlns:ns1="http://schemas.microsoft.com/sharepoint/v3" xmlns:ns2="f6c23d9d-0681-4c43-9365-48f7dca804a1" xmlns:ns3="04212bd0-3e3d-4bc6-b67f-89a8d7bc3c0e" xmlns:ns4="59bcde5c-6864-43d7-a508-7f350f236002" targetNamespace="http://schemas.microsoft.com/office/2006/metadata/properties" ma:root="true" ma:fieldsID="a9da536035144afef1b498278a97f6e4" ns1:_="" ns2:_="" ns3:_="" ns4:_="">
    <xsd:import namespace="http://schemas.microsoft.com/sharepoint/v3"/>
    <xsd:import namespace="f6c23d9d-0681-4c43-9365-48f7dca804a1"/>
    <xsd:import namespace="04212bd0-3e3d-4bc6-b67f-89a8d7bc3c0e"/>
    <xsd:import namespace="59bcde5c-6864-43d7-a508-7f350f236002"/>
    <xsd:element name="properties">
      <xsd:complexType>
        <xsd:sequence>
          <xsd:element name="documentManagement">
            <xsd:complexType>
              <xsd:all>
                <xsd:element ref="ns2:CustomDescription" minOccurs="0"/>
                <xsd:element ref="ns2:Authors" minOccurs="0"/>
                <xsd:element ref="ns2:ActivationDate" minOccurs="0"/>
                <xsd:element ref="ns2:JobsKeywordsTaxHTField0" minOccurs="0"/>
                <xsd:element ref="ns1:Audience" minOccurs="0"/>
                <xsd:element ref="ns2:TargetLanguage" minOccurs="0"/>
                <xsd:element ref="ns2:DocumentationKeywordsTaxHTField0" minOccurs="0"/>
                <xsd:element ref="ns3:TaxCatchAll" minOccurs="0"/>
                <xsd:element ref="ns2:h24ae6008da04eb4a2cc4499773dd6ba" minOccurs="0"/>
                <xsd:element ref="ns2:kc3883ccd4c34807bff9a98a47ab0011" minOccurs="0"/>
                <xsd:element ref="ns3:TaxCatchAllLabel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udience" ma:index="12" nillable="true" ma:displayName="Audiences ciblées" ma:description="" ma:internalName="Audienc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23d9d-0681-4c43-9365-48f7dca804a1" elementFormDefault="qualified">
    <xsd:import namespace="http://schemas.microsoft.com/office/2006/documentManagement/types"/>
    <xsd:import namespace="http://schemas.microsoft.com/office/infopath/2007/PartnerControls"/>
    <xsd:element name="CustomDescription" ma:index="8" nillable="true" ma:displayName="Description" ma:description="" ma:internalName="CustomDescription">
      <xsd:simpleType>
        <xsd:restriction base="dms:Note">
          <xsd:maxLength value="255"/>
        </xsd:restriction>
      </xsd:simpleType>
    </xsd:element>
    <xsd:element name="Authors" ma:index="9" nillable="true" ma:displayName="Auteur" ma:description="Personne à l'origine de l'élément." ma:internalName="Autho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ctivationDate" ma:index="10" nillable="true" ma:displayName="Date d'activation" ma:default="[today]" ma:description="Date associée à l'élément" ma:format="DateTime" ma:internalName="ActivationDate">
      <xsd:simpleType>
        <xsd:restriction base="dms:DateTime"/>
      </xsd:simpleType>
    </xsd:element>
    <xsd:element name="JobsKeywordsTaxHTField0" ma:index="11" nillable="true" ma:displayName="JobsKeywords_0" ma:hidden="true" ma:internalName="JobsKeywordsTaxHTField0">
      <xsd:simpleType>
        <xsd:restriction base="dms:Note"/>
      </xsd:simpleType>
    </xsd:element>
    <xsd:element name="TargetLanguage" ma:index="13" nillable="true" ma:displayName="Langue(s) cible(s)" ma:description="Sélectionnez une ou plusieurs langues cibles pour que votre contenu soit visible dans les langues souhaitées." ma:format="RadioButtons" ma:internalName="TargetLanguag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1036 - Français"/>
                    <xsd:enumeration value="1033 - English"/>
                    <xsd:enumeration value="1031 - Deutsch"/>
                    <xsd:enumeration value="3082 - Español"/>
                    <xsd:enumeration value="2070 - Português"/>
                    <xsd:enumeration value="1040 - Italiano"/>
                    <xsd:enumeration value="1043 - Nederlands"/>
                  </xsd:restriction>
                </xsd:simpleType>
              </xsd:element>
            </xsd:sequence>
          </xsd:extension>
        </xsd:complexContent>
      </xsd:complexType>
    </xsd:element>
    <xsd:element name="DocumentationKeywordsTaxHTField0" ma:index="14" nillable="true" ma:displayName="DocumentationKeywords_0" ma:hidden="true" ma:internalName="DocumentationKeywordsTaxHTField0">
      <xsd:simpleType>
        <xsd:restriction base="dms:Note"/>
      </xsd:simpleType>
    </xsd:element>
    <xsd:element name="h24ae6008da04eb4a2cc4499773dd6ba" ma:index="16" nillable="true" ma:displayName="Métier_0" ma:hidden="true" ma:internalName="h24ae6008da04eb4a2cc4499773dd6ba">
      <xsd:simpleType>
        <xsd:restriction base="dms:Note"/>
      </xsd:simpleType>
    </xsd:element>
    <xsd:element name="kc3883ccd4c34807bff9a98a47ab0011" ma:index="17" nillable="true" ma:displayName="Périmètre Groupe_0" ma:hidden="true" ma:internalName="kc3883ccd4c34807bff9a98a47ab0011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212bd0-3e3d-4bc6-b67f-89a8d7bc3c0e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3f945d61-2b5a-4d50-b777-74c146720a6c}" ma:internalName="TaxCatchAll" ma:showField="CatchAllData" ma:web="59bcde5c-6864-43d7-a508-7f350f23600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8" nillable="true" ma:displayName="Taxonomy Catch All Column1" ma:hidden="true" ma:list="{3f945d61-2b5a-4d50-b777-74c146720a6c}" ma:internalName="TaxCatchAllLabel" ma:readOnly="true" ma:showField="CatchAllDataLabel" ma:web="59bcde5c-6864-43d7-a508-7f350f23600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bcde5c-6864-43d7-a508-7f350f236002" elementFormDefault="qualified">
    <xsd:import namespace="http://schemas.microsoft.com/office/2006/documentManagement/types"/>
    <xsd:import namespace="http://schemas.microsoft.com/office/infopath/2007/PartnerControls"/>
    <xsd:element name="_dlc_DocId" ma:index="19" nillable="true" ma:displayName="Valeur d’ID de document" ma:description="Valeur de l’ID de document affecté à cet élément." ma:internalName="_dlc_DocId" ma:readOnly="true">
      <xsd:simpleType>
        <xsd:restriction base="dms:Text"/>
      </xsd:simpleType>
    </xsd:element>
    <xsd:element name="_dlc_DocIdUrl" ma:index="20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1" nillable="true" ma:displayName="Conserver l’ID" ma:description="Conserver l’ID lors de l’ajout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SharedContentType xmlns="Microsoft.SharePoint.Taxonomy.ContentTypeSync" SourceId="c386a9cb-bf43-4f8d-85fe-9dd66c4b1c36" ContentTypeId="0x010100B438AA258D6244EF8D403716D8FBD38800279E2B6CD32D4690809825BC19D94C13" PreviousValue="false"/>
</file>

<file path=customXml/itemProps1.xml><?xml version="1.0" encoding="utf-8"?>
<ds:datastoreItem xmlns:ds="http://schemas.openxmlformats.org/officeDocument/2006/customXml" ds:itemID="{CD141D86-6AAB-45C2-A322-ED957A4E7106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04D9185B-2C92-4219-9F23-B8ACC7F751F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4A7226-4F8D-4454-838D-60E2BA56FAB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DCBBD61-03CE-4D08-99BF-98D256B3B4CD}">
  <ds:schemaRefs>
    <ds:schemaRef ds:uri="http://purl.org/dc/elements/1.1/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04212bd0-3e3d-4bc6-b67f-89a8d7bc3c0e"/>
    <ds:schemaRef ds:uri="http://schemas.microsoft.com/office/2006/documentManagement/types"/>
    <ds:schemaRef ds:uri="http://schemas.openxmlformats.org/package/2006/metadata/core-properties"/>
    <ds:schemaRef ds:uri="59bcde5c-6864-43d7-a508-7f350f236002"/>
    <ds:schemaRef ds:uri="f6c23d9d-0681-4c43-9365-48f7dca804a1"/>
    <ds:schemaRef ds:uri="http://schemas.microsoft.com/sharepoint/v3"/>
    <ds:schemaRef ds:uri="http://schemas.microsoft.com/office/2006/metadata/properties"/>
  </ds:schemaRefs>
</ds:datastoreItem>
</file>

<file path=customXml/itemProps5.xml><?xml version="1.0" encoding="utf-8"?>
<ds:datastoreItem xmlns:ds="http://schemas.openxmlformats.org/officeDocument/2006/customXml" ds:itemID="{6C4C49FF-983B-4B3F-823B-589EF3815F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6c23d9d-0681-4c43-9365-48f7dca804a1"/>
    <ds:schemaRef ds:uri="04212bd0-3e3d-4bc6-b67f-89a8d7bc3c0e"/>
    <ds:schemaRef ds:uri="59bcde5c-6864-43d7-a508-7f350f23600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E4D36740-2A3F-4BC0-8C85-1FA6CB05A389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STEF</Template>
  <TotalTime>0</TotalTime>
  <Words>189</Words>
  <Application>Microsoft Office PowerPoint</Application>
  <PresentationFormat>Affichage à l'écran (4:3)</PresentationFormat>
  <Paragraphs>45</Paragraphs>
  <Slides>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7" baseType="lpstr">
      <vt:lpstr>Template_STEF</vt:lpstr>
      <vt:lpstr>Thème CLIENT</vt:lpstr>
      <vt:lpstr>Thème STEF + CLIENT</vt:lpstr>
      <vt:lpstr>think-cell Slide</vt:lpstr>
      <vt:lpstr>Présentation PowerPoint</vt:lpstr>
      <vt:lpstr>Présentation PowerPoint</vt:lpstr>
      <vt:lpstr>Présentation PowerPoint</vt:lpstr>
    </vt:vector>
  </TitlesOfParts>
  <Company>STE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hilippe Siemianowski</dc:creator>
  <cp:lastModifiedBy>Philippe Siemianowski</cp:lastModifiedBy>
  <cp:revision>18</cp:revision>
  <cp:lastPrinted>2015-02-12T16:04:36Z</cp:lastPrinted>
  <dcterms:created xsi:type="dcterms:W3CDTF">2018-07-05T09:44:25Z</dcterms:created>
  <dcterms:modified xsi:type="dcterms:W3CDTF">2018-07-05T12:5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4a3439aa-8bda-4b5b-819d-890b29c5600c</vt:lpwstr>
  </property>
  <property fmtid="{D5CDD505-2E9C-101B-9397-08002B2CF9AE}" pid="3" name="ContentTypeId">
    <vt:lpwstr>0x010100B438AA258D6244EF8D403716D8FBD38800279E2B6CD32D4690809825BC19D94C1300CA1803450E366F4C820AD6CA6B8B6CFC</vt:lpwstr>
  </property>
</Properties>
</file>